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4.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8.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 id="2147495204" r:id="rId21"/>
    <p:sldMasterId id="2147495256" r:id="rId22"/>
  </p:sldMasterIdLst>
  <p:notesMasterIdLst>
    <p:notesMasterId r:id="rId96"/>
  </p:notesMasterIdLst>
  <p:sldIdLst>
    <p:sldId id="2145705853" r:id="rId23"/>
    <p:sldId id="11112" r:id="rId24"/>
    <p:sldId id="2145705860" r:id="rId25"/>
    <p:sldId id="2145705861" r:id="rId26"/>
    <p:sldId id="275" r:id="rId27"/>
    <p:sldId id="2145705829" r:id="rId28"/>
    <p:sldId id="2145705844" r:id="rId29"/>
    <p:sldId id="450" r:id="rId30"/>
    <p:sldId id="2145705864" r:id="rId31"/>
    <p:sldId id="2145705854" r:id="rId32"/>
    <p:sldId id="2145705863" r:id="rId33"/>
    <p:sldId id="11931" r:id="rId34"/>
    <p:sldId id="11927" r:id="rId35"/>
    <p:sldId id="2076137012" r:id="rId36"/>
    <p:sldId id="2145705856" r:id="rId37"/>
    <p:sldId id="280" r:id="rId38"/>
    <p:sldId id="2145705830" r:id="rId39"/>
    <p:sldId id="2145705828" r:id="rId40"/>
    <p:sldId id="2145705831" r:id="rId41"/>
    <p:sldId id="2145705832" r:id="rId42"/>
    <p:sldId id="2145705836" r:id="rId43"/>
    <p:sldId id="2145705859" r:id="rId44"/>
    <p:sldId id="2145705857" r:id="rId45"/>
    <p:sldId id="2145705858" r:id="rId46"/>
    <p:sldId id="1933" r:id="rId47"/>
    <p:sldId id="1837" r:id="rId48"/>
    <p:sldId id="2076137329" r:id="rId49"/>
    <p:sldId id="388" r:id="rId50"/>
    <p:sldId id="389" r:id="rId51"/>
    <p:sldId id="390" r:id="rId52"/>
    <p:sldId id="2145705835" r:id="rId53"/>
    <p:sldId id="288" r:id="rId54"/>
    <p:sldId id="2145705852" r:id="rId55"/>
    <p:sldId id="2145705838" r:id="rId56"/>
    <p:sldId id="10054" r:id="rId57"/>
    <p:sldId id="2145705755" r:id="rId58"/>
    <p:sldId id="2145705855" r:id="rId59"/>
    <p:sldId id="2076137321" r:id="rId60"/>
    <p:sldId id="2076137322" r:id="rId61"/>
    <p:sldId id="2076137735" r:id="rId62"/>
    <p:sldId id="10057" r:id="rId63"/>
    <p:sldId id="11930" r:id="rId64"/>
    <p:sldId id="2076137736" r:id="rId65"/>
    <p:sldId id="10058" r:id="rId66"/>
    <p:sldId id="2076137759" r:id="rId67"/>
    <p:sldId id="2076137827" r:id="rId68"/>
    <p:sldId id="2076137760" r:id="rId69"/>
    <p:sldId id="2076137314" r:id="rId70"/>
    <p:sldId id="10244" r:id="rId71"/>
    <p:sldId id="2145705849" r:id="rId72"/>
    <p:sldId id="2076137315" r:id="rId73"/>
    <p:sldId id="9897" r:id="rId74"/>
    <p:sldId id="10022" r:id="rId75"/>
    <p:sldId id="2076137734" r:id="rId76"/>
    <p:sldId id="10038" r:id="rId77"/>
    <p:sldId id="11916" r:id="rId78"/>
    <p:sldId id="11933" r:id="rId79"/>
    <p:sldId id="2076137313" r:id="rId80"/>
    <p:sldId id="11932" r:id="rId81"/>
    <p:sldId id="11917" r:id="rId82"/>
    <p:sldId id="2145705848" r:id="rId83"/>
    <p:sldId id="2145705850" r:id="rId84"/>
    <p:sldId id="2145705851" r:id="rId85"/>
    <p:sldId id="2145705773" r:id="rId86"/>
    <p:sldId id="2145705687" r:id="rId87"/>
    <p:sldId id="2145705756" r:id="rId88"/>
    <p:sldId id="2145705840" r:id="rId89"/>
    <p:sldId id="2076137758" r:id="rId90"/>
    <p:sldId id="2076137309" r:id="rId91"/>
    <p:sldId id="2076137911" r:id="rId92"/>
    <p:sldId id="2076137400" r:id="rId93"/>
    <p:sldId id="1343" r:id="rId94"/>
    <p:sldId id="4472" r:id="rId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60"/>
            <p14:sldId id="2145705861"/>
            <p14:sldId id="275"/>
            <p14:sldId id="2145705829"/>
            <p14:sldId id="2145705844"/>
            <p14:sldId id="450"/>
            <p14:sldId id="2145705864"/>
            <p14:sldId id="2145705854"/>
            <p14:sldId id="2145705863"/>
            <p14:sldId id="11931"/>
            <p14:sldId id="11927"/>
            <p14:sldId id="2076137012"/>
            <p14:sldId id="2145705856"/>
            <p14:sldId id="280"/>
            <p14:sldId id="2145705830"/>
            <p14:sldId id="2145705828"/>
            <p14:sldId id="2145705831"/>
            <p14:sldId id="2145705832"/>
            <p14:sldId id="2145705836"/>
            <p14:sldId id="2145705859"/>
            <p14:sldId id="2145705857"/>
            <p14:sldId id="2145705858"/>
            <p14:sldId id="1933"/>
            <p14:sldId id="1837"/>
            <p14:sldId id="2076137329"/>
            <p14:sldId id="388"/>
            <p14:sldId id="389"/>
            <p14:sldId id="390"/>
            <p14:sldId id="2145705835"/>
            <p14:sldId id="288"/>
            <p14:sldId id="2145705852"/>
            <p14:sldId id="2145705838"/>
            <p14:sldId id="10054"/>
            <p14:sldId id="2145705755"/>
            <p14:sldId id="2145705855"/>
            <p14:sldId id="2076137321"/>
            <p14:sldId id="2076137322"/>
            <p14:sldId id="2076137735"/>
            <p14:sldId id="10057"/>
            <p14:sldId id="11930"/>
            <p14:sldId id="2076137736"/>
            <p14:sldId id="10058"/>
            <p14:sldId id="2076137759"/>
            <p14:sldId id="2076137827"/>
            <p14:sldId id="2076137760"/>
            <p14:sldId id="2076137314"/>
            <p14:sldId id="10244"/>
            <p14:sldId id="2145705849"/>
            <p14:sldId id="2076137315"/>
            <p14:sldId id="9897"/>
            <p14:sldId id="10022"/>
            <p14:sldId id="2076137734"/>
            <p14:sldId id="10038"/>
            <p14:sldId id="11916"/>
            <p14:sldId id="11933"/>
            <p14:sldId id="2076137313"/>
            <p14:sldId id="11932"/>
            <p14:sldId id="11917"/>
            <p14:sldId id="2145705848"/>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1343"/>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72DE9-EED1-4283-86AA-6DB049C9E050}" v="3" dt="2023-04-07T15:13:53.0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42057" autoAdjust="0"/>
  </p:normalViewPr>
  <p:slideViewPr>
    <p:cSldViewPr snapToGrid="0">
      <p:cViewPr varScale="1">
        <p:scale>
          <a:sx n="46" d="100"/>
          <a:sy n="46" d="100"/>
        </p:scale>
        <p:origin x="2256" y="48"/>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102"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68.xml"/><Relationship Id="rId95" Type="http://schemas.openxmlformats.org/officeDocument/2006/relationships/slide" Target="slides/slide73.xml"/><Relationship Id="rId22" Type="http://schemas.openxmlformats.org/officeDocument/2006/relationships/slideMaster" Target="slideMasters/slideMaster19.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microsoft.com/office/2015/10/relationships/revisionInfo" Target="revisionInfo.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1176b27f-6749-4904-a052-7c732238bc52" providerId="ADAL" clId="{66E72DE9-EED1-4283-86AA-6DB049C9E050}"/>
    <pc:docChg chg="custSel delSld modSld modSection">
      <pc:chgData name="John Deardurff" userId="1176b27f-6749-4904-a052-7c732238bc52" providerId="ADAL" clId="{66E72DE9-EED1-4283-86AA-6DB049C9E050}" dt="2023-04-07T15:13:50.570" v="2"/>
      <pc:docMkLst>
        <pc:docMk/>
      </pc:docMkLst>
      <pc:sldChg chg="del">
        <pc:chgData name="John Deardurff" userId="1176b27f-6749-4904-a052-7c732238bc52" providerId="ADAL" clId="{66E72DE9-EED1-4283-86AA-6DB049C9E050}" dt="2023-04-07T15:13:41.213" v="1" actId="47"/>
        <pc:sldMkLst>
          <pc:docMk/>
          <pc:sldMk cId="2685198379" sldId="2076137330"/>
        </pc:sldMkLst>
      </pc:sldChg>
      <pc:sldChg chg="delSp mod">
        <pc:chgData name="John Deardurff" userId="1176b27f-6749-4904-a052-7c732238bc52" providerId="ADAL" clId="{66E72DE9-EED1-4283-86AA-6DB049C9E050}" dt="2023-04-07T15:13:32.174" v="0" actId="478"/>
        <pc:sldMkLst>
          <pc:docMk/>
          <pc:sldMk cId="76221970" sldId="2145705853"/>
        </pc:sldMkLst>
        <pc:spChg chg="del">
          <ac:chgData name="John Deardurff" userId="1176b27f-6749-4904-a052-7c732238bc52" providerId="ADAL" clId="{66E72DE9-EED1-4283-86AA-6DB049C9E050}" dt="2023-04-07T15:13:32.174" v="0" actId="478"/>
          <ac:spMkLst>
            <pc:docMk/>
            <pc:sldMk cId="76221970" sldId="2145705853"/>
            <ac:spMk id="5" creationId="{706377A5-6E72-AD16-89A4-7510C0D740F8}"/>
          </ac:spMkLst>
        </pc:spChg>
      </pc:sldChg>
      <pc:sldChg chg="del">
        <pc:chgData name="John Deardurff" userId="1176b27f-6749-4904-a052-7c732238bc52" providerId="ADAL" clId="{66E72DE9-EED1-4283-86AA-6DB049C9E050}" dt="2023-04-07T15:13:50.570" v="2"/>
        <pc:sldMkLst>
          <pc:docMk/>
          <pc:sldMk cId="1644408746" sldId="214570585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383F44-B2B8-4628-A442-8F4CAF01295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506167-C644-4C9C-82F6-46F284CC67C9}">
      <dgm:prSet custT="1"/>
      <dgm:spPr>
        <a:solidFill>
          <a:schemeClr val="accent1">
            <a:lumMod val="75000"/>
          </a:schemeClr>
        </a:solidFill>
      </dgm:spPr>
      <dgm:t>
        <a:bodyPr/>
        <a:lstStyle/>
        <a:p>
          <a:r>
            <a:rPr lang="en-US" sz="2400" baseline="0" dirty="0"/>
            <a:t>Azure Synapse Concepts and Terminologies (120 minutes)</a:t>
          </a:r>
          <a:endParaRPr lang="en-US" sz="2400" dirty="0"/>
        </a:p>
      </dgm:t>
    </dgm:pt>
    <dgm:pt modelId="{09EC2586-618D-4B2E-BFF9-EE42FA4F0ABC}" type="parTrans" cxnId="{90A33D5B-2FA8-40CB-B7D7-BB4B548AD144}">
      <dgm:prSet/>
      <dgm:spPr/>
      <dgm:t>
        <a:bodyPr/>
        <a:lstStyle/>
        <a:p>
          <a:endParaRPr lang="en-US"/>
        </a:p>
      </dgm:t>
    </dgm:pt>
    <dgm:pt modelId="{C848B51D-F957-42AC-B879-3AA97DC10511}" type="sibTrans" cxnId="{90A33D5B-2FA8-40CB-B7D7-BB4B548AD144}">
      <dgm:prSet/>
      <dgm:spPr/>
      <dgm:t>
        <a:bodyPr/>
        <a:lstStyle/>
        <a:p>
          <a:endParaRPr lang="en-US"/>
        </a:p>
      </dgm:t>
    </dgm:pt>
    <dgm:pt modelId="{B292125A-DDA4-4E03-86D7-D22BAD4F0C74}">
      <dgm:prSet/>
      <dgm:spPr/>
      <dgm:t>
        <a:bodyPr/>
        <a:lstStyle/>
        <a:p>
          <a:r>
            <a:rPr lang="en-US" baseline="0"/>
            <a:t>What is Azure Synapse?</a:t>
          </a:r>
          <a:endParaRPr lang="en-US"/>
        </a:p>
      </dgm:t>
    </dgm:pt>
    <dgm:pt modelId="{CDD37949-8A01-4B14-91B3-543EEF7E1DFD}" type="parTrans" cxnId="{D2302516-841F-4C70-9765-74C680001257}">
      <dgm:prSet/>
      <dgm:spPr/>
      <dgm:t>
        <a:bodyPr/>
        <a:lstStyle/>
        <a:p>
          <a:endParaRPr lang="en-US"/>
        </a:p>
      </dgm:t>
    </dgm:pt>
    <dgm:pt modelId="{0FD95588-B5C5-4DB9-9E53-F076AF31E735}" type="sibTrans" cxnId="{D2302516-841F-4C70-9765-74C680001257}">
      <dgm:prSet/>
      <dgm:spPr/>
      <dgm:t>
        <a:bodyPr/>
        <a:lstStyle/>
        <a:p>
          <a:endParaRPr lang="en-US"/>
        </a:p>
      </dgm:t>
    </dgm:pt>
    <dgm:pt modelId="{F0ABF080-A633-4EE1-96FA-111FC0752D26}">
      <dgm:prSet/>
      <dgm:spPr/>
      <dgm:t>
        <a:bodyPr/>
        <a:lstStyle/>
        <a:p>
          <a:r>
            <a:rPr lang="en-US" baseline="0"/>
            <a:t>Overview of Modern Data Warehousing</a:t>
          </a:r>
          <a:endParaRPr lang="en-US"/>
        </a:p>
      </dgm:t>
    </dgm:pt>
    <dgm:pt modelId="{5A92F174-C45C-43A8-9740-DE30082F7829}" type="parTrans" cxnId="{7A430CCC-11E2-46BA-8A90-B2BE6DEE6407}">
      <dgm:prSet/>
      <dgm:spPr/>
      <dgm:t>
        <a:bodyPr/>
        <a:lstStyle/>
        <a:p>
          <a:endParaRPr lang="en-US"/>
        </a:p>
      </dgm:t>
    </dgm:pt>
    <dgm:pt modelId="{E14F0474-5C54-4600-B08C-E1786884FB75}" type="sibTrans" cxnId="{7A430CCC-11E2-46BA-8A90-B2BE6DEE6407}">
      <dgm:prSet/>
      <dgm:spPr/>
      <dgm:t>
        <a:bodyPr/>
        <a:lstStyle/>
        <a:p>
          <a:endParaRPr lang="en-US"/>
        </a:p>
      </dgm:t>
    </dgm:pt>
    <dgm:pt modelId="{2CBD792A-3146-42EF-A28D-6D3DB35308E1}">
      <dgm:prSet/>
      <dgm:spPr/>
      <dgm:t>
        <a:bodyPr/>
        <a:lstStyle/>
        <a:p>
          <a:r>
            <a:rPr lang="en-US" baseline="0" dirty="0"/>
            <a:t>Scaling Massively Parallel Processing (MPP)</a:t>
          </a:r>
          <a:endParaRPr lang="en-US" dirty="0"/>
        </a:p>
      </dgm:t>
    </dgm:pt>
    <dgm:pt modelId="{2BEFAB36-65B0-46DA-8D1F-C2AB9BA7D178}" type="parTrans" cxnId="{9FE6863F-C528-4E54-B359-6E5B3F9AC84E}">
      <dgm:prSet/>
      <dgm:spPr/>
      <dgm:t>
        <a:bodyPr/>
        <a:lstStyle/>
        <a:p>
          <a:endParaRPr lang="en-US"/>
        </a:p>
      </dgm:t>
    </dgm:pt>
    <dgm:pt modelId="{C9D28425-01D2-42F4-952D-39E350C1F1E3}" type="sibTrans" cxnId="{9FE6863F-C528-4E54-B359-6E5B3F9AC84E}">
      <dgm:prSet/>
      <dgm:spPr/>
      <dgm:t>
        <a:bodyPr/>
        <a:lstStyle/>
        <a:p>
          <a:endParaRPr lang="en-US"/>
        </a:p>
      </dgm:t>
    </dgm:pt>
    <dgm:pt modelId="{188D2CDC-7E15-4ACF-9745-57C66C55D1A4}">
      <dgm:prSet/>
      <dgm:spPr/>
      <dgm:t>
        <a:bodyPr/>
        <a:lstStyle/>
        <a:p>
          <a:r>
            <a:rPr lang="en-US" baseline="0" dirty="0"/>
            <a:t>Azure Synapse SQL Pool Architecture</a:t>
          </a:r>
          <a:endParaRPr lang="en-US" dirty="0"/>
        </a:p>
      </dgm:t>
    </dgm:pt>
    <dgm:pt modelId="{FE479C15-FF98-4AD7-967E-2575B32F03AE}" type="parTrans" cxnId="{4DA8A151-EDAD-4322-90E6-3B94AB4AEE49}">
      <dgm:prSet/>
      <dgm:spPr/>
      <dgm:t>
        <a:bodyPr/>
        <a:lstStyle/>
        <a:p>
          <a:endParaRPr lang="en-US"/>
        </a:p>
      </dgm:t>
    </dgm:pt>
    <dgm:pt modelId="{3D3517F5-EF01-4A90-892C-7196B44C3EBE}" type="sibTrans" cxnId="{4DA8A151-EDAD-4322-90E6-3B94AB4AEE49}">
      <dgm:prSet/>
      <dgm:spPr/>
      <dgm:t>
        <a:bodyPr/>
        <a:lstStyle/>
        <a:p>
          <a:endParaRPr lang="en-US"/>
        </a:p>
      </dgm:t>
    </dgm:pt>
    <dgm:pt modelId="{26515196-3A6F-4764-88F3-722C3BD14E90}">
      <dgm:prSet/>
      <dgm:spPr/>
      <dgm:t>
        <a:bodyPr/>
        <a:lstStyle/>
        <a:p>
          <a:r>
            <a:rPr lang="en-US" baseline="0" dirty="0"/>
            <a:t>Table Distributions in SQL Pools</a:t>
          </a:r>
          <a:endParaRPr lang="en-US" dirty="0"/>
        </a:p>
      </dgm:t>
    </dgm:pt>
    <dgm:pt modelId="{CF6576B6-396C-49C6-9163-E65C50B1B20F}" type="parTrans" cxnId="{82D5A89E-F1F2-4B2C-B358-EAF8504558D1}">
      <dgm:prSet/>
      <dgm:spPr/>
      <dgm:t>
        <a:bodyPr/>
        <a:lstStyle/>
        <a:p>
          <a:endParaRPr lang="en-US"/>
        </a:p>
      </dgm:t>
    </dgm:pt>
    <dgm:pt modelId="{E6159C54-1520-4AFD-A69D-D5D118FB3D28}" type="sibTrans" cxnId="{82D5A89E-F1F2-4B2C-B358-EAF8504558D1}">
      <dgm:prSet/>
      <dgm:spPr/>
      <dgm:t>
        <a:bodyPr/>
        <a:lstStyle/>
        <a:p>
          <a:endParaRPr lang="en-US"/>
        </a:p>
      </dgm:t>
    </dgm:pt>
    <dgm:pt modelId="{8DC2C98A-B24F-4D4A-BAE5-FC225F002567}">
      <dgm:prSet custT="1"/>
      <dgm:spPr/>
      <dgm:t>
        <a:bodyPr/>
        <a:lstStyle/>
        <a:p>
          <a:r>
            <a:rPr lang="en-US" sz="2400" baseline="0" dirty="0"/>
            <a:t>Azure Synapse in a day is a demo driven engagement where the attendee can achieve the most in the least amount of time. It is geared to showcase all the key components of Azure Synapse Analytics. </a:t>
          </a:r>
          <a:endParaRPr lang="en-US" sz="24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D05B0772-8196-4ED4-BCF6-12242338B79E}" type="pres">
      <dgm:prSet presAssocID="{26383F44-B2B8-4628-A442-8F4CAF012956}" presName="linear" presStyleCnt="0">
        <dgm:presLayoutVars>
          <dgm:animLvl val="lvl"/>
          <dgm:resizeHandles val="exact"/>
        </dgm:presLayoutVars>
      </dgm:prSet>
      <dgm:spPr/>
    </dgm:pt>
    <dgm:pt modelId="{C9BD76BE-9482-467D-8C8A-E491FACBA516}" type="pres">
      <dgm:prSet presAssocID="{8DC2C98A-B24F-4D4A-BAE5-FC225F002567}" presName="parentText" presStyleLbl="node1" presStyleIdx="0" presStyleCnt="2">
        <dgm:presLayoutVars>
          <dgm:chMax val="0"/>
          <dgm:bulletEnabled val="1"/>
        </dgm:presLayoutVars>
      </dgm:prSet>
      <dgm:spPr/>
    </dgm:pt>
    <dgm:pt modelId="{6C4880D3-FFD0-4B2B-917C-0B6EDAD78AA0}" type="pres">
      <dgm:prSet presAssocID="{58AC5887-10D2-4D73-BE03-DA110BB30268}" presName="spacer" presStyleCnt="0"/>
      <dgm:spPr/>
    </dgm:pt>
    <dgm:pt modelId="{FF6D5B08-E4BA-4DBE-B6ED-7073FB24ADA6}" type="pres">
      <dgm:prSet presAssocID="{CD506167-C644-4C9C-82F6-46F284CC67C9}" presName="parentText" presStyleLbl="node1" presStyleIdx="1" presStyleCnt="2">
        <dgm:presLayoutVars>
          <dgm:chMax val="0"/>
          <dgm:bulletEnabled val="1"/>
        </dgm:presLayoutVars>
      </dgm:prSet>
      <dgm:spPr/>
    </dgm:pt>
    <dgm:pt modelId="{81B57021-C802-4B2D-822C-713BDB1D4007}" type="pres">
      <dgm:prSet presAssocID="{CD506167-C644-4C9C-82F6-46F284CC67C9}" presName="childText" presStyleLbl="revTx" presStyleIdx="0" presStyleCnt="1">
        <dgm:presLayoutVars>
          <dgm:bulletEnabled val="1"/>
        </dgm:presLayoutVars>
      </dgm:prSet>
      <dgm:spPr/>
    </dgm:pt>
  </dgm:ptLst>
  <dgm:cxnLst>
    <dgm:cxn modelId="{D2302516-841F-4C70-9765-74C680001257}" srcId="{CD506167-C644-4C9C-82F6-46F284CC67C9}" destId="{B292125A-DDA4-4E03-86D7-D22BAD4F0C74}" srcOrd="0" destOrd="0" parTransId="{CDD37949-8A01-4B14-91B3-543EEF7E1DFD}" sibTransId="{0FD95588-B5C5-4DB9-9E53-F076AF31E735}"/>
    <dgm:cxn modelId="{2B028B23-FBEB-472B-B234-CA658B37DDDA}" type="presOf" srcId="{CD506167-C644-4C9C-82F6-46F284CC67C9}" destId="{FF6D5B08-E4BA-4DBE-B6ED-7073FB24ADA6}" srcOrd="0" destOrd="0" presId="urn:microsoft.com/office/officeart/2005/8/layout/vList2"/>
    <dgm:cxn modelId="{A0110226-5979-48EC-831C-CE5F15B4BA25}" type="presOf" srcId="{F0ABF080-A633-4EE1-96FA-111FC0752D26}" destId="{81B57021-C802-4B2D-822C-713BDB1D4007}" srcOrd="0" destOrd="1" presId="urn:microsoft.com/office/officeart/2005/8/layout/vList2"/>
    <dgm:cxn modelId="{9FE6863F-C528-4E54-B359-6E5B3F9AC84E}" srcId="{CD506167-C644-4C9C-82F6-46F284CC67C9}" destId="{2CBD792A-3146-42EF-A28D-6D3DB35308E1}" srcOrd="2" destOrd="0" parTransId="{2BEFAB36-65B0-46DA-8D1F-C2AB9BA7D178}" sibTransId="{C9D28425-01D2-42F4-952D-39E350C1F1E3}"/>
    <dgm:cxn modelId="{05EBC03F-02DB-48F9-8136-39717A86A9DC}" srcId="{26383F44-B2B8-4628-A442-8F4CAF012956}" destId="{8DC2C98A-B24F-4D4A-BAE5-FC225F002567}" srcOrd="0" destOrd="0" parTransId="{1A5BE044-5E78-4E91-BA51-B964AB2BFB01}" sibTransId="{58AC5887-10D2-4D73-BE03-DA110BB30268}"/>
    <dgm:cxn modelId="{90A33D5B-2FA8-40CB-B7D7-BB4B548AD144}" srcId="{26383F44-B2B8-4628-A442-8F4CAF012956}" destId="{CD506167-C644-4C9C-82F6-46F284CC67C9}" srcOrd="1" destOrd="0" parTransId="{09EC2586-618D-4B2E-BFF9-EE42FA4F0ABC}" sibTransId="{C848B51D-F957-42AC-B879-3AA97DC10511}"/>
    <dgm:cxn modelId="{4DA8A151-EDAD-4322-90E6-3B94AB4AEE49}" srcId="{CD506167-C644-4C9C-82F6-46F284CC67C9}" destId="{188D2CDC-7E15-4ACF-9745-57C66C55D1A4}" srcOrd="3" destOrd="0" parTransId="{FE479C15-FF98-4AD7-967E-2575B32F03AE}" sibTransId="{3D3517F5-EF01-4A90-892C-7196B44C3EBE}"/>
    <dgm:cxn modelId="{09EA5B9B-93ED-420A-A388-E56734C2241B}" type="presOf" srcId="{2CBD792A-3146-42EF-A28D-6D3DB35308E1}" destId="{81B57021-C802-4B2D-822C-713BDB1D4007}" srcOrd="0" destOrd="2" presId="urn:microsoft.com/office/officeart/2005/8/layout/vList2"/>
    <dgm:cxn modelId="{82D5A89E-F1F2-4B2C-B358-EAF8504558D1}" srcId="{CD506167-C644-4C9C-82F6-46F284CC67C9}" destId="{26515196-3A6F-4764-88F3-722C3BD14E90}" srcOrd="4" destOrd="0" parTransId="{CF6576B6-396C-49C6-9163-E65C50B1B20F}" sibTransId="{E6159C54-1520-4AFD-A69D-D5D118FB3D28}"/>
    <dgm:cxn modelId="{9D1A9DB5-262F-44DB-AECE-279DD8520553}" type="presOf" srcId="{B292125A-DDA4-4E03-86D7-D22BAD4F0C74}" destId="{81B57021-C802-4B2D-822C-713BDB1D4007}" srcOrd="0" destOrd="0" presId="urn:microsoft.com/office/officeart/2005/8/layout/vList2"/>
    <dgm:cxn modelId="{DE75E9B7-0F91-4C4B-89BE-5F57BBFE9F92}" type="presOf" srcId="{188D2CDC-7E15-4ACF-9745-57C66C55D1A4}" destId="{81B57021-C802-4B2D-822C-713BDB1D4007}" srcOrd="0" destOrd="3" presId="urn:microsoft.com/office/officeart/2005/8/layout/vList2"/>
    <dgm:cxn modelId="{7A430CCC-11E2-46BA-8A90-B2BE6DEE6407}" srcId="{CD506167-C644-4C9C-82F6-46F284CC67C9}" destId="{F0ABF080-A633-4EE1-96FA-111FC0752D26}" srcOrd="1" destOrd="0" parTransId="{5A92F174-C45C-43A8-9740-DE30082F7829}" sibTransId="{E14F0474-5C54-4600-B08C-E1786884FB75}"/>
    <dgm:cxn modelId="{18985CDD-9723-471B-BBF7-5574FC5175AA}" type="presOf" srcId="{8DC2C98A-B24F-4D4A-BAE5-FC225F002567}" destId="{C9BD76BE-9482-467D-8C8A-E491FACBA516}" srcOrd="0" destOrd="0" presId="urn:microsoft.com/office/officeart/2005/8/layout/vList2"/>
    <dgm:cxn modelId="{FBD48AE7-1C91-4AA7-93C2-FF7AD19FFA10}" type="presOf" srcId="{26383F44-B2B8-4628-A442-8F4CAF012956}" destId="{D05B0772-8196-4ED4-BCF6-12242338B79E}" srcOrd="0" destOrd="0" presId="urn:microsoft.com/office/officeart/2005/8/layout/vList2"/>
    <dgm:cxn modelId="{2CF42EEF-5F1C-42FC-BE16-AB21B5BD6C25}" type="presOf" srcId="{26515196-3A6F-4764-88F3-722C3BD14E90}" destId="{81B57021-C802-4B2D-822C-713BDB1D4007}" srcOrd="0" destOrd="4" presId="urn:microsoft.com/office/officeart/2005/8/layout/vList2"/>
    <dgm:cxn modelId="{121468FD-13EC-4D23-BD76-535ACDE5FD31}" type="presParOf" srcId="{D05B0772-8196-4ED4-BCF6-12242338B79E}" destId="{C9BD76BE-9482-467D-8C8A-E491FACBA516}" srcOrd="0" destOrd="0" presId="urn:microsoft.com/office/officeart/2005/8/layout/vList2"/>
    <dgm:cxn modelId="{5B772F11-633F-4375-84CC-F698CA69A5C5}" type="presParOf" srcId="{D05B0772-8196-4ED4-BCF6-12242338B79E}" destId="{6C4880D3-FFD0-4B2B-917C-0B6EDAD78AA0}" srcOrd="1" destOrd="0" presId="urn:microsoft.com/office/officeart/2005/8/layout/vList2"/>
    <dgm:cxn modelId="{906FF99A-39A8-45B4-B0C7-C6545FCFFBA7}" type="presParOf" srcId="{D05B0772-8196-4ED4-BCF6-12242338B79E}" destId="{FF6D5B08-E4BA-4DBE-B6ED-7073FB24ADA6}" srcOrd="2" destOrd="0" presId="urn:microsoft.com/office/officeart/2005/8/layout/vList2"/>
    <dgm:cxn modelId="{6D9672AA-B5DA-49AB-B149-D0342C93A090}" type="presParOf" srcId="{D05B0772-8196-4ED4-BCF6-12242338B79E}" destId="{81B57021-C802-4B2D-822C-713BDB1D4007}"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383F44-B2B8-4628-A442-8F4CAF0129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8DC2C98A-B24F-4D4A-BAE5-FC225F002567}">
      <dgm:prSet custT="1"/>
      <dgm:spPr/>
      <dgm:t>
        <a:bodyPr/>
        <a:lstStyle/>
        <a:p>
          <a:r>
            <a:rPr lang="en-US" sz="1800" dirty="0">
              <a:ln w="3175"/>
              <a:latin typeface="+mj-lt"/>
              <a:cs typeface="Segoe UI" pitchFamily="34" charset="0"/>
            </a:rPr>
            <a:t>Demo 01 </a:t>
          </a:r>
          <a:endParaRPr lang="en-US" sz="18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A434F160-3DF3-47C1-A6E7-7E3AE42404D8}">
      <dgm:prSet custT="1"/>
      <dgm:spPr/>
      <dgm:t>
        <a:bodyPr/>
        <a:lstStyle/>
        <a:p>
          <a:r>
            <a:rPr lang="en-US" sz="1800" dirty="0">
              <a:ln w="3175"/>
              <a:latin typeface="+mj-lt"/>
              <a:cs typeface="Segoe UI" pitchFamily="34" charset="0"/>
            </a:rPr>
            <a:t>Create Synapse Workspace</a:t>
          </a:r>
        </a:p>
      </dgm:t>
    </dgm:pt>
    <dgm:pt modelId="{30084888-60F3-43AF-AE6E-D780772EAD49}" type="parTrans" cxnId="{AE07B463-62D7-48CB-BCD2-84196A437CFC}">
      <dgm:prSet/>
      <dgm:spPr/>
      <dgm:t>
        <a:bodyPr/>
        <a:lstStyle/>
        <a:p>
          <a:endParaRPr lang="en-US"/>
        </a:p>
      </dgm:t>
    </dgm:pt>
    <dgm:pt modelId="{850287F3-B02A-4B6A-B275-BB838C23F2EB}" type="sibTrans" cxnId="{AE07B463-62D7-48CB-BCD2-84196A437CFC}">
      <dgm:prSet/>
      <dgm:spPr/>
      <dgm:t>
        <a:bodyPr/>
        <a:lstStyle/>
        <a:p>
          <a:endParaRPr lang="en-US"/>
        </a:p>
      </dgm:t>
    </dgm:pt>
    <dgm:pt modelId="{EA78B30D-B550-4B66-9F00-822245738835}">
      <dgm:prSet custT="1"/>
      <dgm:spPr/>
      <dgm:t>
        <a:bodyPr/>
        <a:lstStyle/>
        <a:p>
          <a:r>
            <a:rPr lang="en-US" sz="1800">
              <a:ln w="3175"/>
              <a:latin typeface="+mj-lt"/>
              <a:cs typeface="Segoe UI" pitchFamily="34" charset="0"/>
            </a:rPr>
            <a:t>Overview of Synapse Studio</a:t>
          </a:r>
          <a:endParaRPr lang="en-US" sz="1800" dirty="0">
            <a:ln w="3175"/>
            <a:latin typeface="+mj-lt"/>
            <a:cs typeface="Segoe UI" pitchFamily="34" charset="0"/>
          </a:endParaRPr>
        </a:p>
      </dgm:t>
    </dgm:pt>
    <dgm:pt modelId="{07A142B4-86F9-4CB7-AEF9-63410BB9288C}" type="parTrans" cxnId="{34426F06-5ED5-4A0E-BF36-E697790DE52A}">
      <dgm:prSet/>
      <dgm:spPr/>
      <dgm:t>
        <a:bodyPr/>
        <a:lstStyle/>
        <a:p>
          <a:endParaRPr lang="en-US"/>
        </a:p>
      </dgm:t>
    </dgm:pt>
    <dgm:pt modelId="{C848F05D-A9EE-4B9B-ACE7-8741AD497FC0}" type="sibTrans" cxnId="{34426F06-5ED5-4A0E-BF36-E697790DE52A}">
      <dgm:prSet/>
      <dgm:spPr/>
      <dgm:t>
        <a:bodyPr/>
        <a:lstStyle/>
        <a:p>
          <a:endParaRPr lang="en-US"/>
        </a:p>
      </dgm:t>
    </dgm:pt>
    <dgm:pt modelId="{A93943DC-722F-44FE-84CD-53071FDE96D4}">
      <dgm:prSet custT="1"/>
      <dgm:spPr/>
      <dgm:t>
        <a:bodyPr/>
        <a:lstStyle/>
        <a:p>
          <a:r>
            <a:rPr lang="en-US" sz="1800">
              <a:ln w="3175"/>
              <a:latin typeface="+mj-lt"/>
              <a:cs typeface="Segoe UI" pitchFamily="34" charset="0"/>
            </a:rPr>
            <a:t>Create SQL Pools</a:t>
          </a:r>
          <a:endParaRPr lang="en-US" sz="1800" dirty="0">
            <a:ln w="3175"/>
            <a:latin typeface="+mj-lt"/>
            <a:cs typeface="Segoe UI" pitchFamily="34" charset="0"/>
          </a:endParaRPr>
        </a:p>
      </dgm:t>
    </dgm:pt>
    <dgm:pt modelId="{AA151DC9-155E-461C-B615-27638C8C2123}" type="parTrans" cxnId="{F19829A2-C289-4F8B-AFD3-051824299ECD}">
      <dgm:prSet/>
      <dgm:spPr/>
      <dgm:t>
        <a:bodyPr/>
        <a:lstStyle/>
        <a:p>
          <a:endParaRPr lang="en-US"/>
        </a:p>
      </dgm:t>
    </dgm:pt>
    <dgm:pt modelId="{927A37DB-069F-4329-994A-DA48D345325B}" type="sibTrans" cxnId="{F19829A2-C289-4F8B-AFD3-051824299ECD}">
      <dgm:prSet/>
      <dgm:spPr/>
      <dgm:t>
        <a:bodyPr/>
        <a:lstStyle/>
        <a:p>
          <a:endParaRPr lang="en-US"/>
        </a:p>
      </dgm:t>
    </dgm:pt>
    <dgm:pt modelId="{8C628B80-FFDE-4907-8D52-2A10B71A59C5}">
      <dgm:prSet custT="1"/>
      <dgm:spPr/>
      <dgm:t>
        <a:bodyPr/>
        <a:lstStyle/>
        <a:p>
          <a:r>
            <a:rPr lang="en-US" sz="1800">
              <a:ln w="3175"/>
              <a:latin typeface="+mj-lt"/>
              <a:cs typeface="Segoe UI" pitchFamily="34" charset="0"/>
            </a:rPr>
            <a:t>Demo 02</a:t>
          </a:r>
          <a:endParaRPr lang="en-US" sz="1800" dirty="0">
            <a:ln w="3175"/>
            <a:latin typeface="+mj-lt"/>
            <a:cs typeface="Segoe UI" pitchFamily="34" charset="0"/>
          </a:endParaRPr>
        </a:p>
      </dgm:t>
    </dgm:pt>
    <dgm:pt modelId="{004F20BF-2D30-4E42-97F9-F4D50A162C91}" type="parTrans" cxnId="{3CD1FE4B-C5F6-4B30-9309-750EFED19DA3}">
      <dgm:prSet/>
      <dgm:spPr/>
      <dgm:t>
        <a:bodyPr/>
        <a:lstStyle/>
        <a:p>
          <a:endParaRPr lang="en-US"/>
        </a:p>
      </dgm:t>
    </dgm:pt>
    <dgm:pt modelId="{68DAAE50-4C8E-4C07-B3C5-861D72C31332}" type="sibTrans" cxnId="{3CD1FE4B-C5F6-4B30-9309-750EFED19DA3}">
      <dgm:prSet/>
      <dgm:spPr/>
      <dgm:t>
        <a:bodyPr/>
        <a:lstStyle/>
        <a:p>
          <a:endParaRPr lang="en-US"/>
        </a:p>
      </dgm:t>
    </dgm:pt>
    <dgm:pt modelId="{F71714A5-A03A-4130-9AC5-7B76BC7E1281}">
      <dgm:prSet custT="1"/>
      <dgm:spPr/>
      <dgm:t>
        <a:bodyPr/>
        <a:lstStyle/>
        <a:p>
          <a:r>
            <a:rPr lang="en-US" sz="1800" dirty="0">
              <a:ln w="3175"/>
              <a:latin typeface="+mj-lt"/>
              <a:cs typeface="Segoe UI" pitchFamily="34" charset="0"/>
            </a:rPr>
            <a:t>Setup Integration Runtime</a:t>
          </a:r>
        </a:p>
      </dgm:t>
    </dgm:pt>
    <dgm:pt modelId="{165DF41F-29D3-4D65-B916-7E32EAD889EB}" type="parTrans" cxnId="{6208692F-75E2-4C9B-B0D2-1250FB62ACB8}">
      <dgm:prSet/>
      <dgm:spPr/>
      <dgm:t>
        <a:bodyPr/>
        <a:lstStyle/>
        <a:p>
          <a:endParaRPr lang="en-US"/>
        </a:p>
      </dgm:t>
    </dgm:pt>
    <dgm:pt modelId="{791C5BDB-B7E2-4A0F-B81A-232DC57C3B7F}" type="sibTrans" cxnId="{6208692F-75E2-4C9B-B0D2-1250FB62ACB8}">
      <dgm:prSet/>
      <dgm:spPr/>
      <dgm:t>
        <a:bodyPr/>
        <a:lstStyle/>
        <a:p>
          <a:endParaRPr lang="en-US"/>
        </a:p>
      </dgm:t>
    </dgm:pt>
    <dgm:pt modelId="{B977CC0E-0F77-4300-BE87-CAEC6B210D22}">
      <dgm:prSet custT="1"/>
      <dgm:spPr/>
      <dgm:t>
        <a:bodyPr/>
        <a:lstStyle/>
        <a:p>
          <a:r>
            <a:rPr lang="en-US" sz="1800">
              <a:ln w="3175"/>
              <a:latin typeface="+mj-lt"/>
              <a:cs typeface="Segoe UI" pitchFamily="34" charset="0"/>
            </a:rPr>
            <a:t>Create Synapse Pipeline</a:t>
          </a:r>
          <a:endParaRPr lang="en-US" sz="1800" dirty="0">
            <a:ln w="3175"/>
            <a:latin typeface="+mj-lt"/>
            <a:cs typeface="Segoe UI" pitchFamily="34" charset="0"/>
          </a:endParaRPr>
        </a:p>
      </dgm:t>
    </dgm:pt>
    <dgm:pt modelId="{BBF78B77-5C6B-4376-860C-4E3B9160888D}" type="parTrans" cxnId="{E1326CC6-0DB8-4C16-8624-61E63642A4E7}">
      <dgm:prSet/>
      <dgm:spPr/>
      <dgm:t>
        <a:bodyPr/>
        <a:lstStyle/>
        <a:p>
          <a:endParaRPr lang="en-US"/>
        </a:p>
      </dgm:t>
    </dgm:pt>
    <dgm:pt modelId="{8BDD9512-ECB8-42BA-B9C1-BB39593EEC0B}" type="sibTrans" cxnId="{E1326CC6-0DB8-4C16-8624-61E63642A4E7}">
      <dgm:prSet/>
      <dgm:spPr/>
      <dgm:t>
        <a:bodyPr/>
        <a:lstStyle/>
        <a:p>
          <a:endParaRPr lang="en-US"/>
        </a:p>
      </dgm:t>
    </dgm:pt>
    <dgm:pt modelId="{D7D2E77A-CB97-4FBC-BC1E-3560EBFABEC5}">
      <dgm:prSet custT="1"/>
      <dgm:spPr/>
      <dgm:t>
        <a:bodyPr/>
        <a:lstStyle/>
        <a:p>
          <a:r>
            <a:rPr lang="en-US" sz="1800">
              <a:ln w="3175"/>
              <a:latin typeface="+mj-lt"/>
              <a:cs typeface="Segoe UI" pitchFamily="34" charset="0"/>
            </a:rPr>
            <a:t>Data Ingestion from an On-Premises Server (Single Table)</a:t>
          </a:r>
          <a:endParaRPr lang="en-US" sz="1800" dirty="0">
            <a:ln w="3175"/>
            <a:latin typeface="+mj-lt"/>
            <a:cs typeface="Segoe UI" pitchFamily="34" charset="0"/>
          </a:endParaRPr>
        </a:p>
      </dgm:t>
    </dgm:pt>
    <dgm:pt modelId="{58672DDF-5D8C-4F5D-BD25-79D277B2F10E}" type="parTrans" cxnId="{0627E252-F297-493E-8CCA-6A2BBAD30DB6}">
      <dgm:prSet/>
      <dgm:spPr/>
      <dgm:t>
        <a:bodyPr/>
        <a:lstStyle/>
        <a:p>
          <a:endParaRPr lang="en-US"/>
        </a:p>
      </dgm:t>
    </dgm:pt>
    <dgm:pt modelId="{79FE7837-1CB4-46E9-B78D-467C40B182B0}" type="sibTrans" cxnId="{0627E252-F297-493E-8CCA-6A2BBAD30DB6}">
      <dgm:prSet/>
      <dgm:spPr/>
      <dgm:t>
        <a:bodyPr/>
        <a:lstStyle/>
        <a:p>
          <a:endParaRPr lang="en-US"/>
        </a:p>
      </dgm:t>
    </dgm:pt>
    <dgm:pt modelId="{0736448F-0E75-4476-AA35-507D7438582C}">
      <dgm:prSet custT="1"/>
      <dgm:spPr/>
      <dgm:t>
        <a:bodyPr/>
        <a:lstStyle/>
        <a:p>
          <a:r>
            <a:rPr lang="en-US" sz="1800">
              <a:ln w="3175"/>
              <a:latin typeface="+mj-lt"/>
              <a:cs typeface="Segoe UI" pitchFamily="34" charset="0"/>
            </a:rPr>
            <a:t>Demo 03</a:t>
          </a:r>
          <a:endParaRPr lang="en-US" sz="1800" dirty="0">
            <a:ln w="3175"/>
            <a:latin typeface="+mj-lt"/>
            <a:cs typeface="Segoe UI" pitchFamily="34" charset="0"/>
          </a:endParaRPr>
        </a:p>
      </dgm:t>
    </dgm:pt>
    <dgm:pt modelId="{857E91BF-7C1F-40D1-8A19-71AB7F78DCEB}" type="parTrans" cxnId="{35829977-0F4B-43A2-921C-EA516C033ACC}">
      <dgm:prSet/>
      <dgm:spPr/>
      <dgm:t>
        <a:bodyPr/>
        <a:lstStyle/>
        <a:p>
          <a:endParaRPr lang="en-US"/>
        </a:p>
      </dgm:t>
    </dgm:pt>
    <dgm:pt modelId="{6AEDFC5F-847D-4E1E-B791-2CD4CB59AD49}" type="sibTrans" cxnId="{35829977-0F4B-43A2-921C-EA516C033ACC}">
      <dgm:prSet/>
      <dgm:spPr/>
      <dgm:t>
        <a:bodyPr/>
        <a:lstStyle/>
        <a:p>
          <a:endParaRPr lang="en-US"/>
        </a:p>
      </dgm:t>
    </dgm:pt>
    <dgm:pt modelId="{D5E891CA-D939-4C25-A135-63BF35A671BF}">
      <dgm:prSet custT="1"/>
      <dgm:spPr/>
      <dgm:t>
        <a:bodyPr/>
        <a:lstStyle/>
        <a:p>
          <a:r>
            <a:rPr lang="en-US" sz="1800" dirty="0">
              <a:ln w="3175"/>
              <a:latin typeface="+mj-lt"/>
              <a:cs typeface="Segoe UI" pitchFamily="34" charset="0"/>
            </a:rPr>
            <a:t>Data Ingestion from On-Premises Server (Lookup Tables)</a:t>
          </a:r>
        </a:p>
      </dgm:t>
    </dgm:pt>
    <dgm:pt modelId="{589D0F57-288E-464A-BE1E-CCEACF46CCDF}" type="parTrans" cxnId="{44C4349A-D050-4E2D-9CB1-86D560E0E0F7}">
      <dgm:prSet/>
      <dgm:spPr/>
      <dgm:t>
        <a:bodyPr/>
        <a:lstStyle/>
        <a:p>
          <a:endParaRPr lang="en-US"/>
        </a:p>
      </dgm:t>
    </dgm:pt>
    <dgm:pt modelId="{7FD016E7-C2C7-4AD7-8ACF-6792940B95EB}" type="sibTrans" cxnId="{44C4349A-D050-4E2D-9CB1-86D560E0E0F7}">
      <dgm:prSet/>
      <dgm:spPr/>
      <dgm:t>
        <a:bodyPr/>
        <a:lstStyle/>
        <a:p>
          <a:endParaRPr lang="en-US"/>
        </a:p>
      </dgm:t>
    </dgm:pt>
    <dgm:pt modelId="{AC07980B-3C3D-4F4B-9C9C-40BD77ED1549}">
      <dgm:prSet custT="1"/>
      <dgm:spPr/>
      <dgm:t>
        <a:bodyPr/>
        <a:lstStyle/>
        <a:p>
          <a:r>
            <a:rPr lang="en-US" sz="1800">
              <a:ln w="3175"/>
              <a:latin typeface="+mj-lt"/>
              <a:cs typeface="Segoe UI" pitchFamily="34" charset="0"/>
            </a:rPr>
            <a:t>Structured Data to ADLS</a:t>
          </a:r>
          <a:endParaRPr lang="en-US" sz="1800" dirty="0">
            <a:ln w="3175"/>
            <a:latin typeface="+mj-lt"/>
            <a:cs typeface="Segoe UI" pitchFamily="34" charset="0"/>
          </a:endParaRPr>
        </a:p>
      </dgm:t>
    </dgm:pt>
    <dgm:pt modelId="{377DA38D-1717-465E-8AAC-ACE28F0C5EAF}" type="parTrans" cxnId="{BFD7D22C-B6E7-4642-A4BD-3ED7F05CB030}">
      <dgm:prSet/>
      <dgm:spPr/>
      <dgm:t>
        <a:bodyPr/>
        <a:lstStyle/>
        <a:p>
          <a:endParaRPr lang="en-US"/>
        </a:p>
      </dgm:t>
    </dgm:pt>
    <dgm:pt modelId="{483D996C-1565-4ABF-8555-EB22CDB26AC5}" type="sibTrans" cxnId="{BFD7D22C-B6E7-4642-A4BD-3ED7F05CB030}">
      <dgm:prSet/>
      <dgm:spPr/>
      <dgm:t>
        <a:bodyPr/>
        <a:lstStyle/>
        <a:p>
          <a:endParaRPr lang="en-US"/>
        </a:p>
      </dgm:t>
    </dgm:pt>
    <dgm:pt modelId="{E7F74511-48A2-4B81-BDA1-92AB58D4433E}">
      <dgm:prSet custT="1"/>
      <dgm:spPr/>
      <dgm:t>
        <a:bodyPr/>
        <a:lstStyle/>
        <a:p>
          <a:r>
            <a:rPr lang="en-US" sz="1800" dirty="0">
              <a:ln w="3175"/>
              <a:latin typeface="+mj-lt"/>
              <a:cs typeface="Segoe UI" pitchFamily="34" charset="0"/>
            </a:rPr>
            <a:t>Demo 04</a:t>
          </a:r>
        </a:p>
      </dgm:t>
    </dgm:pt>
    <dgm:pt modelId="{DD14CC95-B692-4BBB-A8D1-192FC55E8ADB}" type="parTrans" cxnId="{6364D221-4717-47D0-9963-F76347F68E78}">
      <dgm:prSet/>
      <dgm:spPr/>
      <dgm:t>
        <a:bodyPr/>
        <a:lstStyle/>
        <a:p>
          <a:endParaRPr lang="en-US"/>
        </a:p>
      </dgm:t>
    </dgm:pt>
    <dgm:pt modelId="{BF51BA6B-9E13-4070-A1D7-9169F608CB67}" type="sibTrans" cxnId="{6364D221-4717-47D0-9963-F76347F68E78}">
      <dgm:prSet/>
      <dgm:spPr/>
      <dgm:t>
        <a:bodyPr/>
        <a:lstStyle/>
        <a:p>
          <a:endParaRPr lang="en-US"/>
        </a:p>
      </dgm:t>
    </dgm:pt>
    <dgm:pt modelId="{9AD9DB8C-83DD-4644-9C4F-EA63B02136F3}">
      <dgm:prSet custT="1"/>
      <dgm:spPr/>
      <dgm:t>
        <a:bodyPr/>
        <a:lstStyle/>
        <a:p>
          <a:r>
            <a:rPr lang="en-US" sz="1800">
              <a:ln w="3175"/>
              <a:latin typeface="+mj-lt"/>
              <a:cs typeface="Segoe UI" pitchFamily="34" charset="0"/>
            </a:rPr>
            <a:t>Ingest Data using Polybase</a:t>
          </a:r>
          <a:endParaRPr lang="en-US" sz="1800" dirty="0">
            <a:ln w="3175"/>
            <a:latin typeface="+mj-lt"/>
            <a:cs typeface="Segoe UI" pitchFamily="34" charset="0"/>
          </a:endParaRPr>
        </a:p>
      </dgm:t>
    </dgm:pt>
    <dgm:pt modelId="{8402D238-0280-42B3-9572-A5EA984EF393}" type="parTrans" cxnId="{8CBDB972-28E4-469A-833E-FA4461ED1E19}">
      <dgm:prSet/>
      <dgm:spPr/>
      <dgm:t>
        <a:bodyPr/>
        <a:lstStyle/>
        <a:p>
          <a:endParaRPr lang="en-US"/>
        </a:p>
      </dgm:t>
    </dgm:pt>
    <dgm:pt modelId="{12B62EEF-8054-426F-97CF-0F009234DD75}" type="sibTrans" cxnId="{8CBDB972-28E4-469A-833E-FA4461ED1E19}">
      <dgm:prSet/>
      <dgm:spPr/>
      <dgm:t>
        <a:bodyPr/>
        <a:lstStyle/>
        <a:p>
          <a:endParaRPr lang="en-US"/>
        </a:p>
      </dgm:t>
    </dgm:pt>
    <dgm:pt modelId="{F210A436-179B-456F-A5A9-D4925273ED8F}">
      <dgm:prSet custT="1"/>
      <dgm:spPr/>
      <dgm:t>
        <a:bodyPr/>
        <a:lstStyle/>
        <a:p>
          <a:r>
            <a:rPr lang="en-US" sz="1800" dirty="0">
              <a:ln w="3175"/>
              <a:latin typeface="+mj-lt"/>
              <a:cs typeface="Segoe UI" pitchFamily="34" charset="0"/>
            </a:rPr>
            <a:t>Ingest Data using COPY INTO</a:t>
          </a:r>
        </a:p>
      </dgm:t>
    </dgm:pt>
    <dgm:pt modelId="{5FEDCC9B-29D4-4240-A6EF-77F1F7F5B209}" type="parTrans" cxnId="{D518E1CE-A8A3-4D5D-AF00-811B872DE22C}">
      <dgm:prSet/>
      <dgm:spPr/>
      <dgm:t>
        <a:bodyPr/>
        <a:lstStyle/>
        <a:p>
          <a:endParaRPr lang="en-US"/>
        </a:p>
      </dgm:t>
    </dgm:pt>
    <dgm:pt modelId="{554096C6-81F7-484E-A0B2-241201C01D5F}" type="sibTrans" cxnId="{D518E1CE-A8A3-4D5D-AF00-811B872DE22C}">
      <dgm:prSet/>
      <dgm:spPr/>
      <dgm:t>
        <a:bodyPr/>
        <a:lstStyle/>
        <a:p>
          <a:endParaRPr lang="en-US"/>
        </a:p>
      </dgm:t>
    </dgm:pt>
    <dgm:pt modelId="{968ACA35-A8C9-49E2-96FE-FE7EF56DA535}">
      <dgm:prSet custT="1"/>
      <dgm:spPr/>
      <dgm:t>
        <a:bodyPr/>
        <a:lstStyle/>
        <a:p>
          <a:r>
            <a:rPr lang="en-US" sz="1800">
              <a:ln w="3175"/>
              <a:latin typeface="+mj-lt"/>
              <a:cs typeface="Segoe UI" pitchFamily="34" charset="0"/>
            </a:rPr>
            <a:t>Analyze Data in Synapse Studio</a:t>
          </a:r>
          <a:endParaRPr lang="en-US" sz="1800" dirty="0">
            <a:ln w="3175"/>
            <a:latin typeface="+mj-lt"/>
            <a:cs typeface="Segoe UI" pitchFamily="34" charset="0"/>
          </a:endParaRPr>
        </a:p>
      </dgm:t>
    </dgm:pt>
    <dgm:pt modelId="{52BDF3E5-1310-4B1A-8C34-B1D06CFA762A}" type="parTrans" cxnId="{8BE33B4D-F001-42C9-A1B3-81B14AF54D12}">
      <dgm:prSet/>
      <dgm:spPr/>
      <dgm:t>
        <a:bodyPr/>
        <a:lstStyle/>
        <a:p>
          <a:endParaRPr lang="en-US"/>
        </a:p>
      </dgm:t>
    </dgm:pt>
    <dgm:pt modelId="{8E1480C0-3209-40B1-B0D1-0DDA774BECE6}" type="sibTrans" cxnId="{8BE33B4D-F001-42C9-A1B3-81B14AF54D12}">
      <dgm:prSet/>
      <dgm:spPr/>
      <dgm:t>
        <a:bodyPr/>
        <a:lstStyle/>
        <a:p>
          <a:endParaRPr lang="en-US"/>
        </a:p>
      </dgm:t>
    </dgm:pt>
    <dgm:pt modelId="{E9496B7E-0EB8-424B-8360-A32474E7AE61}">
      <dgm:prSet custT="1"/>
      <dgm:spPr/>
      <dgm:t>
        <a:bodyPr/>
        <a:lstStyle/>
        <a:p>
          <a:r>
            <a:rPr lang="en-US" sz="1800">
              <a:ln w="3175"/>
              <a:latin typeface="+mj-lt"/>
              <a:cs typeface="Segoe UI" pitchFamily="34" charset="0"/>
            </a:rPr>
            <a:t>Demo 05</a:t>
          </a:r>
          <a:endParaRPr lang="en-US" sz="1800" dirty="0">
            <a:ln w="3175"/>
            <a:latin typeface="+mj-lt"/>
            <a:cs typeface="Segoe UI" pitchFamily="34" charset="0"/>
          </a:endParaRPr>
        </a:p>
      </dgm:t>
    </dgm:pt>
    <dgm:pt modelId="{1245AC3D-A2FE-4B81-8AA8-529D22295E60}" type="parTrans" cxnId="{9DD4EE3F-8A72-47DB-AD64-423C9DA5F4BB}">
      <dgm:prSet/>
      <dgm:spPr/>
      <dgm:t>
        <a:bodyPr/>
        <a:lstStyle/>
        <a:p>
          <a:endParaRPr lang="en-US"/>
        </a:p>
      </dgm:t>
    </dgm:pt>
    <dgm:pt modelId="{64581456-4D1F-428B-8844-1C303BF41CEA}" type="sibTrans" cxnId="{9DD4EE3F-8A72-47DB-AD64-423C9DA5F4BB}">
      <dgm:prSet/>
      <dgm:spPr/>
      <dgm:t>
        <a:bodyPr/>
        <a:lstStyle/>
        <a:p>
          <a:endParaRPr lang="en-US"/>
        </a:p>
      </dgm:t>
    </dgm:pt>
    <dgm:pt modelId="{4173F3A3-2F62-46CE-83A5-927FCA02B52D}">
      <dgm:prSet custT="1"/>
      <dgm:spPr/>
      <dgm:t>
        <a:bodyPr/>
        <a:lstStyle/>
        <a:p>
          <a:r>
            <a:rPr lang="en-US" sz="1800" dirty="0">
              <a:ln w="3175"/>
              <a:latin typeface="+mj-lt"/>
              <a:cs typeface="Segoe UI" pitchFamily="34" charset="0"/>
            </a:rPr>
            <a:t>Creating Spark Pools</a:t>
          </a:r>
        </a:p>
      </dgm:t>
    </dgm:pt>
    <dgm:pt modelId="{6DCC1C4F-15C3-414A-AA60-92E4F2C8D3EE}" type="parTrans" cxnId="{CA07B7E3-124F-4601-914C-D7185E9A5E9E}">
      <dgm:prSet/>
      <dgm:spPr/>
      <dgm:t>
        <a:bodyPr/>
        <a:lstStyle/>
        <a:p>
          <a:endParaRPr lang="en-US"/>
        </a:p>
      </dgm:t>
    </dgm:pt>
    <dgm:pt modelId="{B4D02002-0B23-4B8D-BF52-D322C4B90352}" type="sibTrans" cxnId="{CA07B7E3-124F-4601-914C-D7185E9A5E9E}">
      <dgm:prSet/>
      <dgm:spPr/>
      <dgm:t>
        <a:bodyPr/>
        <a:lstStyle/>
        <a:p>
          <a:endParaRPr lang="en-US"/>
        </a:p>
      </dgm:t>
    </dgm:pt>
    <dgm:pt modelId="{10FB4653-4244-42D6-9993-5214F31D0314}">
      <dgm:prSet custT="1"/>
      <dgm:spPr/>
      <dgm:t>
        <a:bodyPr/>
        <a:lstStyle/>
        <a:p>
          <a:r>
            <a:rPr lang="en-US" sz="1800">
              <a:ln w="3175"/>
              <a:latin typeface="+mj-lt"/>
              <a:cs typeface="Segoe UI" pitchFamily="34" charset="0"/>
            </a:rPr>
            <a:t>Ingesting Data from a Data Lake to CosmosDB</a:t>
          </a:r>
          <a:endParaRPr lang="en-US" sz="1800" dirty="0">
            <a:ln w="3175"/>
            <a:latin typeface="+mj-lt"/>
            <a:cs typeface="Segoe UI" pitchFamily="34" charset="0"/>
          </a:endParaRPr>
        </a:p>
      </dgm:t>
    </dgm:pt>
    <dgm:pt modelId="{727E60F4-63FE-454C-BBE1-B8C0E47FC269}" type="parTrans" cxnId="{E8BC56AC-6684-45A5-B7D0-9CE56C1FE021}">
      <dgm:prSet/>
      <dgm:spPr/>
      <dgm:t>
        <a:bodyPr/>
        <a:lstStyle/>
        <a:p>
          <a:endParaRPr lang="en-US"/>
        </a:p>
      </dgm:t>
    </dgm:pt>
    <dgm:pt modelId="{A9F4678D-D764-4FFE-AC48-928F0CBE7A6C}" type="sibTrans" cxnId="{E8BC56AC-6684-45A5-B7D0-9CE56C1FE021}">
      <dgm:prSet/>
      <dgm:spPr/>
      <dgm:t>
        <a:bodyPr/>
        <a:lstStyle/>
        <a:p>
          <a:endParaRPr lang="en-US"/>
        </a:p>
      </dgm:t>
    </dgm:pt>
    <dgm:pt modelId="{14355953-7C33-4C37-AB84-1FA9BC85B154}">
      <dgm:prSet custT="1"/>
      <dgm:spPr/>
      <dgm:t>
        <a:bodyPr/>
        <a:lstStyle/>
        <a:p>
          <a:r>
            <a:rPr lang="en-US" sz="1800" dirty="0">
              <a:ln w="3175"/>
              <a:latin typeface="+mj-lt"/>
              <a:cs typeface="Segoe UI" pitchFamily="34" charset="0"/>
            </a:rPr>
            <a:t>Reporting using Power BI</a:t>
          </a:r>
        </a:p>
      </dgm:t>
    </dgm:pt>
    <dgm:pt modelId="{8F374D44-8ABC-4299-A44A-2D86473DE5DC}" type="parTrans" cxnId="{F17F4507-67EE-4A6F-9C78-C6B5D82CFB76}">
      <dgm:prSet/>
      <dgm:spPr/>
      <dgm:t>
        <a:bodyPr/>
        <a:lstStyle/>
        <a:p>
          <a:endParaRPr lang="en-US"/>
        </a:p>
      </dgm:t>
    </dgm:pt>
    <dgm:pt modelId="{483F0F1B-D67B-491A-945D-5ED1DBF32BC1}" type="sibTrans" cxnId="{F17F4507-67EE-4A6F-9C78-C6B5D82CFB76}">
      <dgm:prSet/>
      <dgm:spPr/>
      <dgm:t>
        <a:bodyPr/>
        <a:lstStyle/>
        <a:p>
          <a:endParaRPr lang="en-US"/>
        </a:p>
      </dgm:t>
    </dgm:pt>
    <dgm:pt modelId="{BF7DD572-4D00-4A53-9BAA-88BBC62F79CB}" type="pres">
      <dgm:prSet presAssocID="{26383F44-B2B8-4628-A442-8F4CAF012956}" presName="Name0" presStyleCnt="0">
        <dgm:presLayoutVars>
          <dgm:dir/>
          <dgm:animLvl val="lvl"/>
          <dgm:resizeHandles val="exact"/>
        </dgm:presLayoutVars>
      </dgm:prSet>
      <dgm:spPr/>
    </dgm:pt>
    <dgm:pt modelId="{1E530088-9381-47F5-851E-77DA547EB835}" type="pres">
      <dgm:prSet presAssocID="{8DC2C98A-B24F-4D4A-BAE5-FC225F002567}" presName="composite" presStyleCnt="0"/>
      <dgm:spPr/>
    </dgm:pt>
    <dgm:pt modelId="{B2EF2977-99BE-4E1E-9309-35EC9A03E7E9}" type="pres">
      <dgm:prSet presAssocID="{8DC2C98A-B24F-4D4A-BAE5-FC225F002567}" presName="parTx" presStyleLbl="alignNode1" presStyleIdx="0" presStyleCnt="5">
        <dgm:presLayoutVars>
          <dgm:chMax val="0"/>
          <dgm:chPref val="0"/>
          <dgm:bulletEnabled val="1"/>
        </dgm:presLayoutVars>
      </dgm:prSet>
      <dgm:spPr/>
    </dgm:pt>
    <dgm:pt modelId="{9614B841-13B5-443B-A8D1-DABAB2F1117F}" type="pres">
      <dgm:prSet presAssocID="{8DC2C98A-B24F-4D4A-BAE5-FC225F002567}" presName="desTx" presStyleLbl="alignAccFollowNode1" presStyleIdx="0" presStyleCnt="5">
        <dgm:presLayoutVars>
          <dgm:bulletEnabled val="1"/>
        </dgm:presLayoutVars>
      </dgm:prSet>
      <dgm:spPr/>
    </dgm:pt>
    <dgm:pt modelId="{68EE813D-2793-4769-834E-0919DF379433}" type="pres">
      <dgm:prSet presAssocID="{58AC5887-10D2-4D73-BE03-DA110BB30268}" presName="space" presStyleCnt="0"/>
      <dgm:spPr/>
    </dgm:pt>
    <dgm:pt modelId="{A5CC36AB-B229-49D4-AF25-34166ECC41B8}" type="pres">
      <dgm:prSet presAssocID="{8C628B80-FFDE-4907-8D52-2A10B71A59C5}" presName="composite" presStyleCnt="0"/>
      <dgm:spPr/>
    </dgm:pt>
    <dgm:pt modelId="{989FBE74-055C-49BC-B777-427FEE92AF6A}" type="pres">
      <dgm:prSet presAssocID="{8C628B80-FFDE-4907-8D52-2A10B71A59C5}" presName="parTx" presStyleLbl="alignNode1" presStyleIdx="1" presStyleCnt="5">
        <dgm:presLayoutVars>
          <dgm:chMax val="0"/>
          <dgm:chPref val="0"/>
          <dgm:bulletEnabled val="1"/>
        </dgm:presLayoutVars>
      </dgm:prSet>
      <dgm:spPr/>
    </dgm:pt>
    <dgm:pt modelId="{0B09C8E4-1923-413D-ABF3-D6A12C793B9D}" type="pres">
      <dgm:prSet presAssocID="{8C628B80-FFDE-4907-8D52-2A10B71A59C5}" presName="desTx" presStyleLbl="alignAccFollowNode1" presStyleIdx="1" presStyleCnt="5">
        <dgm:presLayoutVars>
          <dgm:bulletEnabled val="1"/>
        </dgm:presLayoutVars>
      </dgm:prSet>
      <dgm:spPr/>
    </dgm:pt>
    <dgm:pt modelId="{864B3BE1-21CD-4198-9095-4F2DC764776B}" type="pres">
      <dgm:prSet presAssocID="{68DAAE50-4C8E-4C07-B3C5-861D72C31332}" presName="space" presStyleCnt="0"/>
      <dgm:spPr/>
    </dgm:pt>
    <dgm:pt modelId="{B0520795-4C1F-4208-A2FD-06FE25E17C83}" type="pres">
      <dgm:prSet presAssocID="{0736448F-0E75-4476-AA35-507D7438582C}" presName="composite" presStyleCnt="0"/>
      <dgm:spPr/>
    </dgm:pt>
    <dgm:pt modelId="{7E3F7806-B7D1-429F-AD90-0BD0B75F1783}" type="pres">
      <dgm:prSet presAssocID="{0736448F-0E75-4476-AA35-507D7438582C}" presName="parTx" presStyleLbl="alignNode1" presStyleIdx="2" presStyleCnt="5">
        <dgm:presLayoutVars>
          <dgm:chMax val="0"/>
          <dgm:chPref val="0"/>
          <dgm:bulletEnabled val="1"/>
        </dgm:presLayoutVars>
      </dgm:prSet>
      <dgm:spPr/>
    </dgm:pt>
    <dgm:pt modelId="{C0C34DFB-BE2B-4173-A583-83ADC6CCD32B}" type="pres">
      <dgm:prSet presAssocID="{0736448F-0E75-4476-AA35-507D7438582C}" presName="desTx" presStyleLbl="alignAccFollowNode1" presStyleIdx="2" presStyleCnt="5">
        <dgm:presLayoutVars>
          <dgm:bulletEnabled val="1"/>
        </dgm:presLayoutVars>
      </dgm:prSet>
      <dgm:spPr/>
    </dgm:pt>
    <dgm:pt modelId="{F37FA66A-095A-4391-A5B3-0A08288FAF13}" type="pres">
      <dgm:prSet presAssocID="{6AEDFC5F-847D-4E1E-B791-2CD4CB59AD49}" presName="space" presStyleCnt="0"/>
      <dgm:spPr/>
    </dgm:pt>
    <dgm:pt modelId="{6B3E31F4-A196-47E3-903D-F319B938069F}" type="pres">
      <dgm:prSet presAssocID="{E7F74511-48A2-4B81-BDA1-92AB58D4433E}" presName="composite" presStyleCnt="0"/>
      <dgm:spPr/>
    </dgm:pt>
    <dgm:pt modelId="{AC503C0B-3DC7-4A5D-94FC-CC3062797660}" type="pres">
      <dgm:prSet presAssocID="{E7F74511-48A2-4B81-BDA1-92AB58D4433E}" presName="parTx" presStyleLbl="alignNode1" presStyleIdx="3" presStyleCnt="5">
        <dgm:presLayoutVars>
          <dgm:chMax val="0"/>
          <dgm:chPref val="0"/>
          <dgm:bulletEnabled val="1"/>
        </dgm:presLayoutVars>
      </dgm:prSet>
      <dgm:spPr/>
    </dgm:pt>
    <dgm:pt modelId="{20587D1D-669C-431D-BDC7-6788F78B7AB1}" type="pres">
      <dgm:prSet presAssocID="{E7F74511-48A2-4B81-BDA1-92AB58D4433E}" presName="desTx" presStyleLbl="alignAccFollowNode1" presStyleIdx="3" presStyleCnt="5">
        <dgm:presLayoutVars>
          <dgm:bulletEnabled val="1"/>
        </dgm:presLayoutVars>
      </dgm:prSet>
      <dgm:spPr/>
    </dgm:pt>
    <dgm:pt modelId="{6A8ECE01-EFA1-4B25-9EC4-172C31C92D3B}" type="pres">
      <dgm:prSet presAssocID="{BF51BA6B-9E13-4070-A1D7-9169F608CB67}" presName="space" presStyleCnt="0"/>
      <dgm:spPr/>
    </dgm:pt>
    <dgm:pt modelId="{3FFE95F9-8AA2-4695-AEA0-462E2B71363D}" type="pres">
      <dgm:prSet presAssocID="{E9496B7E-0EB8-424B-8360-A32474E7AE61}" presName="composite" presStyleCnt="0"/>
      <dgm:spPr/>
    </dgm:pt>
    <dgm:pt modelId="{55654B45-B178-42D5-A9B7-9AF232079217}" type="pres">
      <dgm:prSet presAssocID="{E9496B7E-0EB8-424B-8360-A32474E7AE61}" presName="parTx" presStyleLbl="alignNode1" presStyleIdx="4" presStyleCnt="5">
        <dgm:presLayoutVars>
          <dgm:chMax val="0"/>
          <dgm:chPref val="0"/>
          <dgm:bulletEnabled val="1"/>
        </dgm:presLayoutVars>
      </dgm:prSet>
      <dgm:spPr/>
    </dgm:pt>
    <dgm:pt modelId="{71050162-0252-4563-AD57-44D0B4FD3903}" type="pres">
      <dgm:prSet presAssocID="{E9496B7E-0EB8-424B-8360-A32474E7AE61}" presName="desTx" presStyleLbl="alignAccFollowNode1" presStyleIdx="4" presStyleCnt="5">
        <dgm:presLayoutVars>
          <dgm:bulletEnabled val="1"/>
        </dgm:presLayoutVars>
      </dgm:prSet>
      <dgm:spPr/>
    </dgm:pt>
  </dgm:ptLst>
  <dgm:cxnLst>
    <dgm:cxn modelId="{8CB0A202-BC4C-49C2-A466-7C2F18B30230}" type="presOf" srcId="{4173F3A3-2F62-46CE-83A5-927FCA02B52D}" destId="{71050162-0252-4563-AD57-44D0B4FD3903}" srcOrd="0" destOrd="0" presId="urn:microsoft.com/office/officeart/2005/8/layout/hList1"/>
    <dgm:cxn modelId="{34426F06-5ED5-4A0E-BF36-E697790DE52A}" srcId="{8DC2C98A-B24F-4D4A-BAE5-FC225F002567}" destId="{EA78B30D-B550-4B66-9F00-822245738835}" srcOrd="1" destOrd="0" parTransId="{07A142B4-86F9-4CB7-AEF9-63410BB9288C}" sibTransId="{C848F05D-A9EE-4B9B-ACE7-8741AD497FC0}"/>
    <dgm:cxn modelId="{F17F4507-67EE-4A6F-9C78-C6B5D82CFB76}" srcId="{E9496B7E-0EB8-424B-8360-A32474E7AE61}" destId="{14355953-7C33-4C37-AB84-1FA9BC85B154}" srcOrd="2" destOrd="0" parTransId="{8F374D44-8ABC-4299-A44A-2D86473DE5DC}" sibTransId="{483F0F1B-D67B-491A-945D-5ED1DBF32BC1}"/>
    <dgm:cxn modelId="{B82A5B1A-3403-46E0-96F5-D22DDAD94D79}" type="presOf" srcId="{14355953-7C33-4C37-AB84-1FA9BC85B154}" destId="{71050162-0252-4563-AD57-44D0B4FD3903}" srcOrd="0" destOrd="2" presId="urn:microsoft.com/office/officeart/2005/8/layout/hList1"/>
    <dgm:cxn modelId="{064FAD1E-4FC1-4285-9D9B-52948659C9A1}" type="presOf" srcId="{E9496B7E-0EB8-424B-8360-A32474E7AE61}" destId="{55654B45-B178-42D5-A9B7-9AF232079217}" srcOrd="0" destOrd="0" presId="urn:microsoft.com/office/officeart/2005/8/layout/hList1"/>
    <dgm:cxn modelId="{6364D221-4717-47D0-9963-F76347F68E78}" srcId="{26383F44-B2B8-4628-A442-8F4CAF012956}" destId="{E7F74511-48A2-4B81-BDA1-92AB58D4433E}" srcOrd="3" destOrd="0" parTransId="{DD14CC95-B692-4BBB-A8D1-192FC55E8ADB}" sibTransId="{BF51BA6B-9E13-4070-A1D7-9169F608CB67}"/>
    <dgm:cxn modelId="{BFD7D22C-B6E7-4642-A4BD-3ED7F05CB030}" srcId="{0736448F-0E75-4476-AA35-507D7438582C}" destId="{AC07980B-3C3D-4F4B-9C9C-40BD77ED1549}" srcOrd="1" destOrd="0" parTransId="{377DA38D-1717-465E-8AAC-ACE28F0C5EAF}" sibTransId="{483D996C-1565-4ABF-8555-EB22CDB26AC5}"/>
    <dgm:cxn modelId="{6208692F-75E2-4C9B-B0D2-1250FB62ACB8}" srcId="{8C628B80-FFDE-4907-8D52-2A10B71A59C5}" destId="{F71714A5-A03A-4130-9AC5-7B76BC7E1281}" srcOrd="0" destOrd="0" parTransId="{165DF41F-29D3-4D65-B916-7E32EAD889EB}" sibTransId="{791C5BDB-B7E2-4A0F-B81A-232DC57C3B7F}"/>
    <dgm:cxn modelId="{05EBC03F-02DB-48F9-8136-39717A86A9DC}" srcId="{26383F44-B2B8-4628-A442-8F4CAF012956}" destId="{8DC2C98A-B24F-4D4A-BAE5-FC225F002567}" srcOrd="0" destOrd="0" parTransId="{1A5BE044-5E78-4E91-BA51-B964AB2BFB01}" sibTransId="{58AC5887-10D2-4D73-BE03-DA110BB30268}"/>
    <dgm:cxn modelId="{9DD4EE3F-8A72-47DB-AD64-423C9DA5F4BB}" srcId="{26383F44-B2B8-4628-A442-8F4CAF012956}" destId="{E9496B7E-0EB8-424B-8360-A32474E7AE61}" srcOrd="4" destOrd="0" parTransId="{1245AC3D-A2FE-4B81-8AA8-529D22295E60}" sibTransId="{64581456-4D1F-428B-8844-1C303BF41CEA}"/>
    <dgm:cxn modelId="{471C795B-5F42-443F-A39C-03A569B0FA9F}" type="presOf" srcId="{8C628B80-FFDE-4907-8D52-2A10B71A59C5}" destId="{989FBE74-055C-49BC-B777-427FEE92AF6A}" srcOrd="0" destOrd="0" presId="urn:microsoft.com/office/officeart/2005/8/layout/hList1"/>
    <dgm:cxn modelId="{3746825C-4AA6-4AE2-9FBE-394628753AB7}" type="presOf" srcId="{968ACA35-A8C9-49E2-96FE-FE7EF56DA535}" destId="{20587D1D-669C-431D-BDC7-6788F78B7AB1}" srcOrd="0" destOrd="2" presId="urn:microsoft.com/office/officeart/2005/8/layout/hList1"/>
    <dgm:cxn modelId="{5DE71F62-77A4-4BC8-965E-2D132F4138B0}" type="presOf" srcId="{E7F74511-48A2-4B81-BDA1-92AB58D4433E}" destId="{AC503C0B-3DC7-4A5D-94FC-CC3062797660}" srcOrd="0" destOrd="0" presId="urn:microsoft.com/office/officeart/2005/8/layout/hList1"/>
    <dgm:cxn modelId="{98EB6C63-E0B0-418C-9E19-C1B16EA58EAC}" type="presOf" srcId="{B977CC0E-0F77-4300-BE87-CAEC6B210D22}" destId="{0B09C8E4-1923-413D-ABF3-D6A12C793B9D}" srcOrd="0" destOrd="1" presId="urn:microsoft.com/office/officeart/2005/8/layout/hList1"/>
    <dgm:cxn modelId="{AE07B463-62D7-48CB-BCD2-84196A437CFC}" srcId="{8DC2C98A-B24F-4D4A-BAE5-FC225F002567}" destId="{A434F160-3DF3-47C1-A6E7-7E3AE42404D8}" srcOrd="0" destOrd="0" parTransId="{30084888-60F3-43AF-AE6E-D780772EAD49}" sibTransId="{850287F3-B02A-4B6A-B275-BB838C23F2EB}"/>
    <dgm:cxn modelId="{3CD1FE4B-C5F6-4B30-9309-750EFED19DA3}" srcId="{26383F44-B2B8-4628-A442-8F4CAF012956}" destId="{8C628B80-FFDE-4907-8D52-2A10B71A59C5}" srcOrd="1" destOrd="0" parTransId="{004F20BF-2D30-4E42-97F9-F4D50A162C91}" sibTransId="{68DAAE50-4C8E-4C07-B3C5-861D72C31332}"/>
    <dgm:cxn modelId="{8BE33B4D-F001-42C9-A1B3-81B14AF54D12}" srcId="{E7F74511-48A2-4B81-BDA1-92AB58D4433E}" destId="{968ACA35-A8C9-49E2-96FE-FE7EF56DA535}" srcOrd="2" destOrd="0" parTransId="{52BDF3E5-1310-4B1A-8C34-B1D06CFA762A}" sibTransId="{8E1480C0-3209-40B1-B0D1-0DDA774BECE6}"/>
    <dgm:cxn modelId="{91901871-3C87-455A-AFD7-F1EA9A43215D}" type="presOf" srcId="{A434F160-3DF3-47C1-A6E7-7E3AE42404D8}" destId="{9614B841-13B5-443B-A8D1-DABAB2F1117F}" srcOrd="0" destOrd="0" presId="urn:microsoft.com/office/officeart/2005/8/layout/hList1"/>
    <dgm:cxn modelId="{8CBDB972-28E4-469A-833E-FA4461ED1E19}" srcId="{E7F74511-48A2-4B81-BDA1-92AB58D4433E}" destId="{9AD9DB8C-83DD-4644-9C4F-EA63B02136F3}" srcOrd="0" destOrd="0" parTransId="{8402D238-0280-42B3-9572-A5EA984EF393}" sibTransId="{12B62EEF-8054-426F-97CF-0F009234DD75}"/>
    <dgm:cxn modelId="{0627E252-F297-493E-8CCA-6A2BBAD30DB6}" srcId="{8C628B80-FFDE-4907-8D52-2A10B71A59C5}" destId="{D7D2E77A-CB97-4FBC-BC1E-3560EBFABEC5}" srcOrd="2" destOrd="0" parTransId="{58672DDF-5D8C-4F5D-BD25-79D277B2F10E}" sibTransId="{79FE7837-1CB4-46E9-B78D-467C40B182B0}"/>
    <dgm:cxn modelId="{C24EE953-6D3E-47B7-A672-200C968E6E13}" type="presOf" srcId="{D5E891CA-D939-4C25-A135-63BF35A671BF}" destId="{C0C34DFB-BE2B-4173-A583-83ADC6CCD32B}" srcOrd="0" destOrd="0" presId="urn:microsoft.com/office/officeart/2005/8/layout/hList1"/>
    <dgm:cxn modelId="{35829977-0F4B-43A2-921C-EA516C033ACC}" srcId="{26383F44-B2B8-4628-A442-8F4CAF012956}" destId="{0736448F-0E75-4476-AA35-507D7438582C}" srcOrd="2" destOrd="0" parTransId="{857E91BF-7C1F-40D1-8A19-71AB7F78DCEB}" sibTransId="{6AEDFC5F-847D-4E1E-B791-2CD4CB59AD49}"/>
    <dgm:cxn modelId="{0F0DB358-5859-4779-A16A-E9E1E43B0253}" type="presOf" srcId="{A93943DC-722F-44FE-84CD-53071FDE96D4}" destId="{9614B841-13B5-443B-A8D1-DABAB2F1117F}" srcOrd="0" destOrd="2" presId="urn:microsoft.com/office/officeart/2005/8/layout/hList1"/>
    <dgm:cxn modelId="{45019282-96ED-4A72-B8DE-9341392FF933}" type="presOf" srcId="{0736448F-0E75-4476-AA35-507D7438582C}" destId="{7E3F7806-B7D1-429F-AD90-0BD0B75F1783}" srcOrd="0" destOrd="0" presId="urn:microsoft.com/office/officeart/2005/8/layout/hList1"/>
    <dgm:cxn modelId="{1DDC5086-3302-4C5B-AF67-422C9CA81591}" type="presOf" srcId="{10FB4653-4244-42D6-9993-5214F31D0314}" destId="{71050162-0252-4563-AD57-44D0B4FD3903}" srcOrd="0" destOrd="1" presId="urn:microsoft.com/office/officeart/2005/8/layout/hList1"/>
    <dgm:cxn modelId="{44C4349A-D050-4E2D-9CB1-86D560E0E0F7}" srcId="{0736448F-0E75-4476-AA35-507D7438582C}" destId="{D5E891CA-D939-4C25-A135-63BF35A671BF}" srcOrd="0" destOrd="0" parTransId="{589D0F57-288E-464A-BE1E-CCEACF46CCDF}" sibTransId="{7FD016E7-C2C7-4AD7-8ACF-6792940B95EB}"/>
    <dgm:cxn modelId="{F19829A2-C289-4F8B-AFD3-051824299ECD}" srcId="{8DC2C98A-B24F-4D4A-BAE5-FC225F002567}" destId="{A93943DC-722F-44FE-84CD-53071FDE96D4}" srcOrd="2" destOrd="0" parTransId="{AA151DC9-155E-461C-B615-27638C8C2123}" sibTransId="{927A37DB-069F-4329-994A-DA48D345325B}"/>
    <dgm:cxn modelId="{1B9751A9-AE9C-4DD6-AC88-5338794D1D99}" type="presOf" srcId="{F210A436-179B-456F-A5A9-D4925273ED8F}" destId="{20587D1D-669C-431D-BDC7-6788F78B7AB1}" srcOrd="0" destOrd="1" presId="urn:microsoft.com/office/officeart/2005/8/layout/hList1"/>
    <dgm:cxn modelId="{E8BC56AC-6684-45A5-B7D0-9CE56C1FE021}" srcId="{E9496B7E-0EB8-424B-8360-A32474E7AE61}" destId="{10FB4653-4244-42D6-9993-5214F31D0314}" srcOrd="1" destOrd="0" parTransId="{727E60F4-63FE-454C-BBE1-B8C0E47FC269}" sibTransId="{A9F4678D-D764-4FFE-AC48-928F0CBE7A6C}"/>
    <dgm:cxn modelId="{759DB8AD-4F3B-46EA-8797-CAED61ABEDF4}" type="presOf" srcId="{AC07980B-3C3D-4F4B-9C9C-40BD77ED1549}" destId="{C0C34DFB-BE2B-4173-A583-83ADC6CCD32B}" srcOrd="0" destOrd="1" presId="urn:microsoft.com/office/officeart/2005/8/layout/hList1"/>
    <dgm:cxn modelId="{A4062BBA-27D3-4A49-BF91-C2F327B0261F}" type="presOf" srcId="{8DC2C98A-B24F-4D4A-BAE5-FC225F002567}" destId="{B2EF2977-99BE-4E1E-9309-35EC9A03E7E9}" srcOrd="0" destOrd="0" presId="urn:microsoft.com/office/officeart/2005/8/layout/hList1"/>
    <dgm:cxn modelId="{419618BF-0119-44D1-AF47-C46728F2681A}" type="presOf" srcId="{F71714A5-A03A-4130-9AC5-7B76BC7E1281}" destId="{0B09C8E4-1923-413D-ABF3-D6A12C793B9D}" srcOrd="0" destOrd="0" presId="urn:microsoft.com/office/officeart/2005/8/layout/hList1"/>
    <dgm:cxn modelId="{E1326CC6-0DB8-4C16-8624-61E63642A4E7}" srcId="{8C628B80-FFDE-4907-8D52-2A10B71A59C5}" destId="{B977CC0E-0F77-4300-BE87-CAEC6B210D22}" srcOrd="1" destOrd="0" parTransId="{BBF78B77-5C6B-4376-860C-4E3B9160888D}" sibTransId="{8BDD9512-ECB8-42BA-B9C1-BB39593EEC0B}"/>
    <dgm:cxn modelId="{7B75CECA-A8BF-4403-B695-76FD10BA6355}" type="presOf" srcId="{D7D2E77A-CB97-4FBC-BC1E-3560EBFABEC5}" destId="{0B09C8E4-1923-413D-ABF3-D6A12C793B9D}" srcOrd="0" destOrd="2" presId="urn:microsoft.com/office/officeart/2005/8/layout/hList1"/>
    <dgm:cxn modelId="{D518E1CE-A8A3-4D5D-AF00-811B872DE22C}" srcId="{E7F74511-48A2-4B81-BDA1-92AB58D4433E}" destId="{F210A436-179B-456F-A5A9-D4925273ED8F}" srcOrd="1" destOrd="0" parTransId="{5FEDCC9B-29D4-4240-A6EF-77F1F7F5B209}" sibTransId="{554096C6-81F7-484E-A0B2-241201C01D5F}"/>
    <dgm:cxn modelId="{B01700E1-BE81-4D86-9154-0688E18EA034}" type="presOf" srcId="{EA78B30D-B550-4B66-9F00-822245738835}" destId="{9614B841-13B5-443B-A8D1-DABAB2F1117F}" srcOrd="0" destOrd="1" presId="urn:microsoft.com/office/officeart/2005/8/layout/hList1"/>
    <dgm:cxn modelId="{BB44E6E1-974B-40E2-94D8-947A1DB41ABC}" type="presOf" srcId="{26383F44-B2B8-4628-A442-8F4CAF012956}" destId="{BF7DD572-4D00-4A53-9BAA-88BBC62F79CB}" srcOrd="0" destOrd="0" presId="urn:microsoft.com/office/officeart/2005/8/layout/hList1"/>
    <dgm:cxn modelId="{CA07B7E3-124F-4601-914C-D7185E9A5E9E}" srcId="{E9496B7E-0EB8-424B-8360-A32474E7AE61}" destId="{4173F3A3-2F62-46CE-83A5-927FCA02B52D}" srcOrd="0" destOrd="0" parTransId="{6DCC1C4F-15C3-414A-AA60-92E4F2C8D3EE}" sibTransId="{B4D02002-0B23-4B8D-BF52-D322C4B90352}"/>
    <dgm:cxn modelId="{EEE3AEE9-0A26-47E1-AD51-C563F60AE2B9}" type="presOf" srcId="{9AD9DB8C-83DD-4644-9C4F-EA63B02136F3}" destId="{20587D1D-669C-431D-BDC7-6788F78B7AB1}" srcOrd="0" destOrd="0" presId="urn:microsoft.com/office/officeart/2005/8/layout/hList1"/>
    <dgm:cxn modelId="{8980E065-0A34-4053-A099-8C9C804E3E3E}" type="presParOf" srcId="{BF7DD572-4D00-4A53-9BAA-88BBC62F79CB}" destId="{1E530088-9381-47F5-851E-77DA547EB835}" srcOrd="0" destOrd="0" presId="urn:microsoft.com/office/officeart/2005/8/layout/hList1"/>
    <dgm:cxn modelId="{2B5AE037-B593-4798-9449-CF3BA228692B}" type="presParOf" srcId="{1E530088-9381-47F5-851E-77DA547EB835}" destId="{B2EF2977-99BE-4E1E-9309-35EC9A03E7E9}" srcOrd="0" destOrd="0" presId="urn:microsoft.com/office/officeart/2005/8/layout/hList1"/>
    <dgm:cxn modelId="{22BD3D81-DB5F-4A01-AFE9-BF4F03745077}" type="presParOf" srcId="{1E530088-9381-47F5-851E-77DA547EB835}" destId="{9614B841-13B5-443B-A8D1-DABAB2F1117F}" srcOrd="1" destOrd="0" presId="urn:microsoft.com/office/officeart/2005/8/layout/hList1"/>
    <dgm:cxn modelId="{A4E7CD81-AEF6-4BB9-AA42-001CF7491C30}" type="presParOf" srcId="{BF7DD572-4D00-4A53-9BAA-88BBC62F79CB}" destId="{68EE813D-2793-4769-834E-0919DF379433}" srcOrd="1" destOrd="0" presId="urn:microsoft.com/office/officeart/2005/8/layout/hList1"/>
    <dgm:cxn modelId="{033AE29C-1F75-4DDA-B8FC-F652566DE709}" type="presParOf" srcId="{BF7DD572-4D00-4A53-9BAA-88BBC62F79CB}" destId="{A5CC36AB-B229-49D4-AF25-34166ECC41B8}" srcOrd="2" destOrd="0" presId="urn:microsoft.com/office/officeart/2005/8/layout/hList1"/>
    <dgm:cxn modelId="{FF8505BC-8B67-4A05-8A17-96D2971EB94C}" type="presParOf" srcId="{A5CC36AB-B229-49D4-AF25-34166ECC41B8}" destId="{989FBE74-055C-49BC-B777-427FEE92AF6A}" srcOrd="0" destOrd="0" presId="urn:microsoft.com/office/officeart/2005/8/layout/hList1"/>
    <dgm:cxn modelId="{8E04AC5B-AFC4-4690-9089-CEAB66DD8EE0}" type="presParOf" srcId="{A5CC36AB-B229-49D4-AF25-34166ECC41B8}" destId="{0B09C8E4-1923-413D-ABF3-D6A12C793B9D}" srcOrd="1" destOrd="0" presId="urn:microsoft.com/office/officeart/2005/8/layout/hList1"/>
    <dgm:cxn modelId="{1B4BE92E-3B0B-4476-B117-4B8501926A55}" type="presParOf" srcId="{BF7DD572-4D00-4A53-9BAA-88BBC62F79CB}" destId="{864B3BE1-21CD-4198-9095-4F2DC764776B}" srcOrd="3" destOrd="0" presId="urn:microsoft.com/office/officeart/2005/8/layout/hList1"/>
    <dgm:cxn modelId="{1C4BB822-0316-4036-9459-61ED0B6945CF}" type="presParOf" srcId="{BF7DD572-4D00-4A53-9BAA-88BBC62F79CB}" destId="{B0520795-4C1F-4208-A2FD-06FE25E17C83}" srcOrd="4" destOrd="0" presId="urn:microsoft.com/office/officeart/2005/8/layout/hList1"/>
    <dgm:cxn modelId="{A0A5DC95-BFF6-4CEC-8A30-9C6792977E9B}" type="presParOf" srcId="{B0520795-4C1F-4208-A2FD-06FE25E17C83}" destId="{7E3F7806-B7D1-429F-AD90-0BD0B75F1783}" srcOrd="0" destOrd="0" presId="urn:microsoft.com/office/officeart/2005/8/layout/hList1"/>
    <dgm:cxn modelId="{14D1C559-B126-4DFA-B541-90FB7BB38C4D}" type="presParOf" srcId="{B0520795-4C1F-4208-A2FD-06FE25E17C83}" destId="{C0C34DFB-BE2B-4173-A583-83ADC6CCD32B}" srcOrd="1" destOrd="0" presId="urn:microsoft.com/office/officeart/2005/8/layout/hList1"/>
    <dgm:cxn modelId="{C2A4FD0B-79DC-484F-8FCA-86396D51CC98}" type="presParOf" srcId="{BF7DD572-4D00-4A53-9BAA-88BBC62F79CB}" destId="{F37FA66A-095A-4391-A5B3-0A08288FAF13}" srcOrd="5" destOrd="0" presId="urn:microsoft.com/office/officeart/2005/8/layout/hList1"/>
    <dgm:cxn modelId="{84CFC5F6-DEE6-47AA-900E-F3285A15C65B}" type="presParOf" srcId="{BF7DD572-4D00-4A53-9BAA-88BBC62F79CB}" destId="{6B3E31F4-A196-47E3-903D-F319B938069F}" srcOrd="6" destOrd="0" presId="urn:microsoft.com/office/officeart/2005/8/layout/hList1"/>
    <dgm:cxn modelId="{7E01F125-6014-4C61-8316-AF5349828135}" type="presParOf" srcId="{6B3E31F4-A196-47E3-903D-F319B938069F}" destId="{AC503C0B-3DC7-4A5D-94FC-CC3062797660}" srcOrd="0" destOrd="0" presId="urn:microsoft.com/office/officeart/2005/8/layout/hList1"/>
    <dgm:cxn modelId="{C2319CEB-6CB6-475F-9E2F-B03FFBA674C5}" type="presParOf" srcId="{6B3E31F4-A196-47E3-903D-F319B938069F}" destId="{20587D1D-669C-431D-BDC7-6788F78B7AB1}" srcOrd="1" destOrd="0" presId="urn:microsoft.com/office/officeart/2005/8/layout/hList1"/>
    <dgm:cxn modelId="{13E83E92-AFDA-4AA1-9635-A58D6601D869}" type="presParOf" srcId="{BF7DD572-4D00-4A53-9BAA-88BBC62F79CB}" destId="{6A8ECE01-EFA1-4B25-9EC4-172C31C92D3B}" srcOrd="7" destOrd="0" presId="urn:microsoft.com/office/officeart/2005/8/layout/hList1"/>
    <dgm:cxn modelId="{4A0BCE21-C344-472B-9F17-20C2F10B5070}" type="presParOf" srcId="{BF7DD572-4D00-4A53-9BAA-88BBC62F79CB}" destId="{3FFE95F9-8AA2-4695-AEA0-462E2B71363D}" srcOrd="8" destOrd="0" presId="urn:microsoft.com/office/officeart/2005/8/layout/hList1"/>
    <dgm:cxn modelId="{45916141-D3EA-4B24-B415-0E13990368A8}" type="presParOf" srcId="{3FFE95F9-8AA2-4695-AEA0-462E2B71363D}" destId="{55654B45-B178-42D5-A9B7-9AF232079217}" srcOrd="0" destOrd="0" presId="urn:microsoft.com/office/officeart/2005/8/layout/hList1"/>
    <dgm:cxn modelId="{9D37BC6B-E5D8-4BD2-BC09-D4B9DC0A1B6C}" type="presParOf" srcId="{3FFE95F9-8AA2-4695-AEA0-462E2B71363D}" destId="{71050162-0252-4563-AD57-44D0B4FD39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D76BE-9482-467D-8C8A-E491FACBA516}">
      <dsp:nvSpPr>
        <dsp:cNvPr id="0" name=""/>
        <dsp:cNvSpPr/>
      </dsp:nvSpPr>
      <dsp:spPr>
        <a:xfrm>
          <a:off x="0" y="39363"/>
          <a:ext cx="11442319" cy="14507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in a day is a demo driven engagement where the attendee can achieve the most in the least amount of time. It is geared to showcase all the key components of Azure Synapse Analytics. </a:t>
          </a:r>
          <a:endParaRPr lang="en-US" sz="2400" kern="1200" dirty="0"/>
        </a:p>
      </dsp:txBody>
      <dsp:txXfrm>
        <a:off x="70822" y="110185"/>
        <a:ext cx="11300675" cy="1309155"/>
      </dsp:txXfrm>
    </dsp:sp>
    <dsp:sp modelId="{FF6D5B08-E4BA-4DBE-B6ED-7073FB24ADA6}">
      <dsp:nvSpPr>
        <dsp:cNvPr id="0" name=""/>
        <dsp:cNvSpPr/>
      </dsp:nvSpPr>
      <dsp:spPr>
        <a:xfrm>
          <a:off x="0" y="1579443"/>
          <a:ext cx="11442319" cy="1450799"/>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Concepts and Terminologies (120 minutes)</a:t>
          </a:r>
          <a:endParaRPr lang="en-US" sz="2400" kern="1200" dirty="0"/>
        </a:p>
      </dsp:txBody>
      <dsp:txXfrm>
        <a:off x="70822" y="1650265"/>
        <a:ext cx="11300675" cy="1309155"/>
      </dsp:txXfrm>
    </dsp:sp>
    <dsp:sp modelId="{81B57021-C802-4B2D-822C-713BDB1D4007}">
      <dsp:nvSpPr>
        <dsp:cNvPr id="0" name=""/>
        <dsp:cNvSpPr/>
      </dsp:nvSpPr>
      <dsp:spPr>
        <a:xfrm>
          <a:off x="0" y="3030243"/>
          <a:ext cx="11442319" cy="2245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294"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What is Azure Synapse?</a:t>
          </a:r>
          <a:endParaRPr lang="en-US" sz="2400" kern="1200"/>
        </a:p>
        <a:p>
          <a:pPr marL="228600" lvl="1" indent="-228600" algn="l" defTabSz="1066800">
            <a:lnSpc>
              <a:spcPct val="90000"/>
            </a:lnSpc>
            <a:spcBef>
              <a:spcPct val="0"/>
            </a:spcBef>
            <a:spcAft>
              <a:spcPct val="20000"/>
            </a:spcAft>
            <a:buChar char="•"/>
          </a:pPr>
          <a:r>
            <a:rPr lang="en-US" sz="2400" kern="1200" baseline="0"/>
            <a:t>Overview of Modern Data Warehousing</a:t>
          </a:r>
          <a:endParaRPr lang="en-US" sz="2400" kern="1200"/>
        </a:p>
        <a:p>
          <a:pPr marL="228600" lvl="1" indent="-228600" algn="l" defTabSz="1066800">
            <a:lnSpc>
              <a:spcPct val="90000"/>
            </a:lnSpc>
            <a:spcBef>
              <a:spcPct val="0"/>
            </a:spcBef>
            <a:spcAft>
              <a:spcPct val="20000"/>
            </a:spcAft>
            <a:buChar char="•"/>
          </a:pPr>
          <a:r>
            <a:rPr lang="en-US" sz="2400" kern="1200" baseline="0" dirty="0"/>
            <a:t>Scaling Massively Parallel Processing (MPP)</a:t>
          </a:r>
          <a:endParaRPr lang="en-US" sz="2400" kern="1200" dirty="0"/>
        </a:p>
        <a:p>
          <a:pPr marL="228600" lvl="1" indent="-228600" algn="l" defTabSz="1066800">
            <a:lnSpc>
              <a:spcPct val="90000"/>
            </a:lnSpc>
            <a:spcBef>
              <a:spcPct val="0"/>
            </a:spcBef>
            <a:spcAft>
              <a:spcPct val="20000"/>
            </a:spcAft>
            <a:buChar char="•"/>
          </a:pPr>
          <a:r>
            <a:rPr lang="en-US" sz="2400" kern="1200" baseline="0" dirty="0"/>
            <a:t>Azure Synapse SQL Pool Architecture</a:t>
          </a:r>
          <a:endParaRPr lang="en-US" sz="2400" kern="1200" dirty="0"/>
        </a:p>
        <a:p>
          <a:pPr marL="228600" lvl="1" indent="-228600" algn="l" defTabSz="1066800">
            <a:lnSpc>
              <a:spcPct val="90000"/>
            </a:lnSpc>
            <a:spcBef>
              <a:spcPct val="0"/>
            </a:spcBef>
            <a:spcAft>
              <a:spcPct val="20000"/>
            </a:spcAft>
            <a:buChar char="•"/>
          </a:pPr>
          <a:r>
            <a:rPr lang="en-US" sz="2400" kern="1200" baseline="0" dirty="0"/>
            <a:t>Table Distributions in SQL Pools</a:t>
          </a:r>
          <a:endParaRPr lang="en-US" sz="2400" kern="1200" dirty="0"/>
        </a:p>
      </dsp:txBody>
      <dsp:txXfrm>
        <a:off x="0" y="3030243"/>
        <a:ext cx="11442319" cy="2245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F2977-99BE-4E1E-9309-35EC9A03E7E9}">
      <dsp:nvSpPr>
        <dsp:cNvPr id="0" name=""/>
        <dsp:cNvSpPr/>
      </dsp:nvSpPr>
      <dsp:spPr>
        <a:xfrm>
          <a:off x="531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1 </a:t>
          </a:r>
          <a:endParaRPr lang="en-US" sz="1800" kern="1200" dirty="0"/>
        </a:p>
      </dsp:txBody>
      <dsp:txXfrm>
        <a:off x="5313" y="1371627"/>
        <a:ext cx="2036944" cy="814777"/>
      </dsp:txXfrm>
    </dsp:sp>
    <dsp:sp modelId="{9614B841-13B5-443B-A8D1-DABAB2F1117F}">
      <dsp:nvSpPr>
        <dsp:cNvPr id="0" name=""/>
        <dsp:cNvSpPr/>
      </dsp:nvSpPr>
      <dsp:spPr>
        <a:xfrm>
          <a:off x="531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e Synapse Workspac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Overview of Synapse Studio</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QL Pools</a:t>
          </a:r>
          <a:endParaRPr lang="en-US" sz="1800" kern="1200" dirty="0">
            <a:ln w="3175"/>
            <a:latin typeface="+mj-lt"/>
            <a:cs typeface="Segoe UI" pitchFamily="34" charset="0"/>
          </a:endParaRPr>
        </a:p>
      </dsp:txBody>
      <dsp:txXfrm>
        <a:off x="5313" y="2186405"/>
        <a:ext cx="2036944" cy="2854800"/>
      </dsp:txXfrm>
    </dsp:sp>
    <dsp:sp modelId="{989FBE74-055C-49BC-B777-427FEE92AF6A}">
      <dsp:nvSpPr>
        <dsp:cNvPr id="0" name=""/>
        <dsp:cNvSpPr/>
      </dsp:nvSpPr>
      <dsp:spPr>
        <a:xfrm>
          <a:off x="2327430"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2</a:t>
          </a:r>
          <a:endParaRPr lang="en-US" sz="1800" kern="1200" dirty="0">
            <a:ln w="3175"/>
            <a:latin typeface="+mj-lt"/>
            <a:cs typeface="Segoe UI" pitchFamily="34" charset="0"/>
          </a:endParaRPr>
        </a:p>
      </dsp:txBody>
      <dsp:txXfrm>
        <a:off x="2327430" y="1371627"/>
        <a:ext cx="2036944" cy="814777"/>
      </dsp:txXfrm>
    </dsp:sp>
    <dsp:sp modelId="{0B09C8E4-1923-413D-ABF3-D6A12C793B9D}">
      <dsp:nvSpPr>
        <dsp:cNvPr id="0" name=""/>
        <dsp:cNvSpPr/>
      </dsp:nvSpPr>
      <dsp:spPr>
        <a:xfrm>
          <a:off x="2327430"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Setup Integration Runtim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ynapse Pipelin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Data Ingestion from an On-Premises Server (Single Table)</a:t>
          </a:r>
          <a:endParaRPr lang="en-US" sz="1800" kern="1200" dirty="0">
            <a:ln w="3175"/>
            <a:latin typeface="+mj-lt"/>
            <a:cs typeface="Segoe UI" pitchFamily="34" charset="0"/>
          </a:endParaRPr>
        </a:p>
      </dsp:txBody>
      <dsp:txXfrm>
        <a:off x="2327430" y="2186405"/>
        <a:ext cx="2036944" cy="2854800"/>
      </dsp:txXfrm>
    </dsp:sp>
    <dsp:sp modelId="{7E3F7806-B7D1-429F-AD90-0BD0B75F1783}">
      <dsp:nvSpPr>
        <dsp:cNvPr id="0" name=""/>
        <dsp:cNvSpPr/>
      </dsp:nvSpPr>
      <dsp:spPr>
        <a:xfrm>
          <a:off x="4649546"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3</a:t>
          </a:r>
          <a:endParaRPr lang="en-US" sz="1800" kern="1200" dirty="0">
            <a:ln w="3175"/>
            <a:latin typeface="+mj-lt"/>
            <a:cs typeface="Segoe UI" pitchFamily="34" charset="0"/>
          </a:endParaRPr>
        </a:p>
      </dsp:txBody>
      <dsp:txXfrm>
        <a:off x="4649546" y="1371627"/>
        <a:ext cx="2036944" cy="814777"/>
      </dsp:txXfrm>
    </dsp:sp>
    <dsp:sp modelId="{C0C34DFB-BE2B-4173-A583-83ADC6CCD32B}">
      <dsp:nvSpPr>
        <dsp:cNvPr id="0" name=""/>
        <dsp:cNvSpPr/>
      </dsp:nvSpPr>
      <dsp:spPr>
        <a:xfrm>
          <a:off x="4649546"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Data Ingestion from On-Premises Server (Lookup Table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Structured Data to ADLS</a:t>
          </a:r>
          <a:endParaRPr lang="en-US" sz="1800" kern="1200" dirty="0">
            <a:ln w="3175"/>
            <a:latin typeface="+mj-lt"/>
            <a:cs typeface="Segoe UI" pitchFamily="34" charset="0"/>
          </a:endParaRPr>
        </a:p>
      </dsp:txBody>
      <dsp:txXfrm>
        <a:off x="4649546" y="2186405"/>
        <a:ext cx="2036944" cy="2854800"/>
      </dsp:txXfrm>
    </dsp:sp>
    <dsp:sp modelId="{AC503C0B-3DC7-4A5D-94FC-CC3062797660}">
      <dsp:nvSpPr>
        <dsp:cNvPr id="0" name=""/>
        <dsp:cNvSpPr/>
      </dsp:nvSpPr>
      <dsp:spPr>
        <a:xfrm>
          <a:off x="697166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4</a:t>
          </a:r>
        </a:p>
      </dsp:txBody>
      <dsp:txXfrm>
        <a:off x="6971663" y="1371627"/>
        <a:ext cx="2036944" cy="814777"/>
      </dsp:txXfrm>
    </dsp:sp>
    <dsp:sp modelId="{20587D1D-669C-431D-BDC7-6788F78B7AB1}">
      <dsp:nvSpPr>
        <dsp:cNvPr id="0" name=""/>
        <dsp:cNvSpPr/>
      </dsp:nvSpPr>
      <dsp:spPr>
        <a:xfrm>
          <a:off x="697166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 Data using Polybas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Ingest Data using COPY INTO</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Analyze Data in Synapse Studio</a:t>
          </a:r>
          <a:endParaRPr lang="en-US" sz="1800" kern="1200" dirty="0">
            <a:ln w="3175"/>
            <a:latin typeface="+mj-lt"/>
            <a:cs typeface="Segoe UI" pitchFamily="34" charset="0"/>
          </a:endParaRPr>
        </a:p>
      </dsp:txBody>
      <dsp:txXfrm>
        <a:off x="6971663" y="2186405"/>
        <a:ext cx="2036944" cy="2854800"/>
      </dsp:txXfrm>
    </dsp:sp>
    <dsp:sp modelId="{55654B45-B178-42D5-A9B7-9AF232079217}">
      <dsp:nvSpPr>
        <dsp:cNvPr id="0" name=""/>
        <dsp:cNvSpPr/>
      </dsp:nvSpPr>
      <dsp:spPr>
        <a:xfrm>
          <a:off x="9293779"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5</a:t>
          </a:r>
          <a:endParaRPr lang="en-US" sz="1800" kern="1200" dirty="0">
            <a:ln w="3175"/>
            <a:latin typeface="+mj-lt"/>
            <a:cs typeface="Segoe UI" pitchFamily="34" charset="0"/>
          </a:endParaRPr>
        </a:p>
      </dsp:txBody>
      <dsp:txXfrm>
        <a:off x="9293779" y="1371627"/>
        <a:ext cx="2036944" cy="814777"/>
      </dsp:txXfrm>
    </dsp:sp>
    <dsp:sp modelId="{71050162-0252-4563-AD57-44D0B4FD3903}">
      <dsp:nvSpPr>
        <dsp:cNvPr id="0" name=""/>
        <dsp:cNvSpPr/>
      </dsp:nvSpPr>
      <dsp:spPr>
        <a:xfrm>
          <a:off x="9293779"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ing Spark Pool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ing Data from a Data Lake to CosmosDB</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Reporting using Power BI</a:t>
          </a:r>
        </a:p>
      </dsp:txBody>
      <dsp:txXfrm>
        <a:off x="9293779" y="2186405"/>
        <a:ext cx="2036944"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4/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rchitecture/data-guide/relational-data/etl#:~:text=Extract%2C%20load%2C%20and%20transform%20(ELT)%20differs%20from%20ETL,are%20used%20to%20transform%20data."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t-sql/statements/copy-into-transact-sql?toc=/azure/synapse-analytics/sql-data-warehouse/toc.json&amp;bc=/azure/synapse-analytics/sql-data-warehouse/breadcrumb/toc.json&amp;view=azure-sqldw-latest" TargetMode="External"/><Relationship Id="rId5"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urestorage.com/es/knowledge/big-data.html#:~:text=The%20three%20Vs%20are%3A%201%20Volume%3A%20The%20quantity,which%20new%20data%20is%20streaming%20into%20your%20syste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elderresearch.com/blog/42-v-of-big-data"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398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567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540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dirty="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dirty="0" err="1">
                <a:solidFill>
                  <a:srgbClr val="171717"/>
                </a:solidFill>
                <a:effectLst/>
                <a:latin typeface="Segoe UI" panose="020B0502040204020203" pitchFamily="34" charset="0"/>
              </a:rPr>
              <a:t>bursty</a:t>
            </a:r>
            <a:r>
              <a:rPr lang="en-US" b="0" i="0" dirty="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ore info: (</a:t>
            </a:r>
            <a:r>
              <a:rPr lang="en-US" dirty="0">
                <a:hlinkClick r:id="rId3"/>
              </a:rPr>
              <a:t>Synapse SQL architecture - Azure Synapse Analytics | Microsoft Docs</a:t>
            </a:r>
            <a:r>
              <a:rPr lang="en-US" dirty="0"/>
              <a:t>)</a:t>
            </a: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9</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ALK TRACK:</a:t>
            </a:r>
          </a:p>
          <a:p>
            <a:endParaRPr lang="en-US" dirty="0"/>
          </a:p>
          <a:p>
            <a:r>
              <a:rPr lang="en-US" dirty="0"/>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0</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113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1</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8265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3</a:t>
            </a:fld>
            <a:endParaRPr lang="en-US"/>
          </a:p>
        </p:txBody>
      </p:sp>
    </p:spTree>
    <p:extLst>
      <p:ext uri="{BB962C8B-B14F-4D97-AF65-F5344CB8AC3E}">
        <p14:creationId xmlns:p14="http://schemas.microsoft.com/office/powerpoint/2010/main" val="1355774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4</a:t>
            </a:fld>
            <a:endParaRPr lang="en-US"/>
          </a:p>
        </p:txBody>
      </p:sp>
    </p:spTree>
    <p:extLst>
      <p:ext uri="{BB962C8B-B14F-4D97-AF65-F5344CB8AC3E}">
        <p14:creationId xmlns:p14="http://schemas.microsoft.com/office/powerpoint/2010/main" val="27184752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202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115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31</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23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34</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01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2511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6</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57</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8</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59</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rchitecture/data-guide/relational-data/etl#:~:text=Extract%2C%20load%2C%20and%20transform%20(ELT)%20differs%20from%20ETL,are%20used%20to%20transform%20data.</a:t>
            </a:r>
            <a:endParaRPr lang="en-US" dirty="0"/>
          </a:p>
          <a:p>
            <a:endParaRPr lang="en-US" dirty="0"/>
          </a:p>
          <a:p>
            <a:r>
              <a:rPr lang="en-US" sz="1200" b="0" i="0" kern="1200" dirty="0">
                <a:solidFill>
                  <a:schemeClr val="tx1"/>
                </a:solidFill>
                <a:effectLst/>
                <a:latin typeface="+mn-lt"/>
                <a:ea typeface="+mn-ea"/>
                <a:cs typeface="+mn-cs"/>
              </a:rPr>
              <a:t>Extract, load, and transform (ELT) differs from ETL solely in where the transformation takes place. In the ELT pipeline, the transformation occurs in the target data store. Instead of using a separate transformation engine, the processing capabilities of the target data store are used to transform data. This simplifies the architecture by removing the transformation engine from the pipeline. Another benefit to this approach is that scaling the target data store also scales the ELT pipeline performance. However, ELT only works well when the target system is powerful enough to transform the data efficient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tract, transform, and load (ETL) is a data pipeline used to collect data from various sources, transform the data according to business rules, and load it into a destination data store. The transformation work in ETL takes place in a specialized engine, and often involves using staging tables to temporarily hold data as it is being transformed and ultimately loaded to its destination.</a:t>
            </a:r>
          </a:p>
          <a:p>
            <a:r>
              <a:rPr lang="en-US" sz="1200" b="0" i="0" kern="1200" dirty="0">
                <a:solidFill>
                  <a:schemeClr val="tx1"/>
                </a:solidFill>
                <a:effectLst/>
                <a:latin typeface="+mn-lt"/>
                <a:ea typeface="+mn-ea"/>
                <a:cs typeface="+mn-cs"/>
              </a:rPr>
              <a:t>The data transformation that takes place usually involves various operations, such as filtering, sorting, aggregating, joining data, cleaning data, deduplicating, and validating data.</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ditional SMP SQL pools use an Extract, Transform, and Load (ETL) process for loading data. Synapse SQL pool, within Azure Synapse Analytics, has a massively parallel processing (MPP) architecture that takes advantage of the scalability and flexibility of compute and storage resources.</a:t>
            </a:r>
          </a:p>
          <a:p>
            <a:r>
              <a:rPr lang="en-US" sz="1200" b="0" i="0" kern="1200" dirty="0">
                <a:solidFill>
                  <a:schemeClr val="tx1"/>
                </a:solidFill>
                <a:effectLst/>
                <a:latin typeface="+mn-lt"/>
                <a:ea typeface="+mn-ea"/>
                <a:cs typeface="+mn-cs"/>
              </a:rPr>
              <a:t>Using an Extract, Load, and Transform (ELT) process leverages MPP and eliminates the resources needed for data transformation prior to loading.</a:t>
            </a:r>
          </a:p>
          <a:p>
            <a:r>
              <a:rPr lang="en-US" sz="1200" b="0" i="0" kern="1200" dirty="0">
                <a:solidFill>
                  <a:schemeClr val="tx1"/>
                </a:solidFill>
                <a:effectLst/>
                <a:latin typeface="+mn-lt"/>
                <a:ea typeface="+mn-ea"/>
                <a:cs typeface="+mn-cs"/>
              </a:rPr>
              <a:t>While SQL pool supports many loading methods, including popular SQL Server options such as </a:t>
            </a:r>
            <a:r>
              <a:rPr lang="en-US" sz="1200" b="0" i="0" u="sng" kern="1200" dirty="0" err="1">
                <a:solidFill>
                  <a:schemeClr val="tx1"/>
                </a:solidFill>
                <a:effectLst/>
                <a:latin typeface="+mn-lt"/>
                <a:ea typeface="+mn-ea"/>
                <a:cs typeface="+mn-cs"/>
                <a:hlinkClick r:id="rId4"/>
              </a:rPr>
              <a:t>bcp</a:t>
            </a:r>
            <a:r>
              <a:rPr lang="en-US" sz="1200" b="0" i="0" kern="1200" dirty="0">
                <a:solidFill>
                  <a:schemeClr val="tx1"/>
                </a:solidFill>
                <a:effectLst/>
                <a:latin typeface="+mn-lt"/>
                <a:ea typeface="+mn-ea"/>
                <a:cs typeface="+mn-cs"/>
              </a:rPr>
              <a:t> and the </a:t>
            </a:r>
            <a:r>
              <a:rPr lang="en-US" sz="1200" b="0" i="0" u="sng" kern="1200" dirty="0" err="1">
                <a:solidFill>
                  <a:schemeClr val="tx1"/>
                </a:solidFill>
                <a:effectLst/>
                <a:latin typeface="+mn-lt"/>
                <a:ea typeface="+mn-ea"/>
                <a:cs typeface="+mn-cs"/>
                <a:hlinkClick r:id="rId5"/>
              </a:rPr>
              <a:t>SqlBulkCopy</a:t>
            </a:r>
            <a:r>
              <a:rPr lang="en-US" sz="1200" b="0" i="0" u="sng" kern="1200" dirty="0">
                <a:solidFill>
                  <a:schemeClr val="tx1"/>
                </a:solidFill>
                <a:effectLst/>
                <a:latin typeface="+mn-lt"/>
                <a:ea typeface="+mn-ea"/>
                <a:cs typeface="+mn-cs"/>
                <a:hlinkClick r:id="rId5"/>
              </a:rPr>
              <a:t> API</a:t>
            </a:r>
            <a:r>
              <a:rPr lang="en-US" sz="1200" b="0" i="0" kern="1200" dirty="0">
                <a:solidFill>
                  <a:schemeClr val="tx1"/>
                </a:solidFill>
                <a:effectLst/>
                <a:latin typeface="+mn-lt"/>
                <a:ea typeface="+mn-ea"/>
                <a:cs typeface="+mn-cs"/>
              </a:rPr>
              <a:t>, the fastest and most scalable way to load data is through PolyBase external tables and the </a:t>
            </a:r>
            <a:r>
              <a:rPr lang="en-US" sz="1200" b="0" i="0" u="sng" kern="1200" dirty="0">
                <a:solidFill>
                  <a:schemeClr val="tx1"/>
                </a:solidFill>
                <a:effectLst/>
                <a:latin typeface="+mn-lt"/>
                <a:ea typeface="+mn-ea"/>
                <a:cs typeface="+mn-cs"/>
                <a:hlinkClick r:id="rId6"/>
              </a:rPr>
              <a:t>COPY statement</a:t>
            </a:r>
            <a:r>
              <a:rPr lang="en-US" sz="1200" b="0" i="0" kern="1200" dirty="0">
                <a:solidFill>
                  <a:schemeClr val="tx1"/>
                </a:solidFill>
                <a:effectLst/>
                <a:latin typeface="+mn-lt"/>
                <a:ea typeface="+mn-ea"/>
                <a:cs typeface="+mn-cs"/>
              </a:rPr>
              <a:t> (preview).</a:t>
            </a:r>
          </a:p>
          <a:p>
            <a:r>
              <a:rPr lang="en-US" sz="1200" b="0" i="0" kern="1200" dirty="0">
                <a:solidFill>
                  <a:schemeClr val="tx1"/>
                </a:solidFill>
                <a:effectLst/>
                <a:latin typeface="+mn-lt"/>
                <a:ea typeface="+mn-ea"/>
                <a:cs typeface="+mn-cs"/>
              </a:rPr>
              <a:t>With PolyBase and the COPY statement, you can access external data stored in Azure Blob storage or Azure Data Lake Store via the T-SQL language. For the most flexibility when loading, we recommend using the COPY statemen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719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uide to Big Data | What is Big Data | Pure Knowledge | Pure Storage</a:t>
            </a:r>
            <a:endParaRPr lang="en-US" dirty="0"/>
          </a:p>
          <a:p>
            <a:endParaRPr lang="en-US" dirty="0"/>
          </a:p>
          <a:p>
            <a:pPr algn="l"/>
            <a:r>
              <a:rPr lang="en-US" b="1" i="0" dirty="0">
                <a:solidFill>
                  <a:srgbClr val="000000"/>
                </a:solidFill>
                <a:effectLst/>
                <a:latin typeface="Inter"/>
              </a:rPr>
              <a:t>The Three Vs of Big Data</a:t>
            </a:r>
          </a:p>
          <a:p>
            <a:pPr algn="l"/>
            <a:r>
              <a:rPr lang="en-US" b="0" i="0" dirty="0">
                <a:solidFill>
                  <a:srgbClr val="000000"/>
                </a:solidFill>
                <a:effectLst/>
                <a:latin typeface="Inter"/>
              </a:rPr>
              <a:t>While the concept of big data has been around for a long time, industry analyst Doug Laney was the first to coin the three Vs of big data in 2001. The three Vs are:</a:t>
            </a:r>
          </a:p>
          <a:p>
            <a:pPr algn="l">
              <a:buFont typeface="Arial" panose="020B0604020202020204" pitchFamily="34" charset="0"/>
              <a:buChar char="•"/>
            </a:pPr>
            <a:r>
              <a:rPr lang="en-US" b="1" i="0" dirty="0">
                <a:solidFill>
                  <a:srgbClr val="000000"/>
                </a:solidFill>
                <a:effectLst/>
                <a:latin typeface="Inter"/>
              </a:rPr>
              <a:t>Volume:</a:t>
            </a:r>
            <a:r>
              <a:rPr lang="en-US" b="0" i="0" dirty="0">
                <a:solidFill>
                  <a:srgbClr val="000000"/>
                </a:solidFill>
                <a:effectLst/>
                <a:latin typeface="Inter"/>
              </a:rPr>
              <a:t> The quantity of data that must be processed (usually a lot—gigabytes, exabytes, or more)</a:t>
            </a:r>
          </a:p>
          <a:p>
            <a:pPr algn="l">
              <a:buFont typeface="Arial" panose="020B0604020202020204" pitchFamily="34" charset="0"/>
              <a:buChar char="•"/>
            </a:pPr>
            <a:r>
              <a:rPr lang="en-US" b="1" i="0" dirty="0">
                <a:solidFill>
                  <a:srgbClr val="000000"/>
                </a:solidFill>
                <a:effectLst/>
                <a:latin typeface="Inter"/>
              </a:rPr>
              <a:t>Variety:</a:t>
            </a:r>
            <a:r>
              <a:rPr lang="en-US" b="0" i="0" dirty="0">
                <a:solidFill>
                  <a:srgbClr val="000000"/>
                </a:solidFill>
                <a:effectLst/>
                <a:latin typeface="Inter"/>
              </a:rPr>
              <a:t> The wide-ranging types of data, both structured and unstructured, streaming from many different sources</a:t>
            </a:r>
          </a:p>
          <a:p>
            <a:pPr algn="l">
              <a:buFont typeface="Arial" panose="020B0604020202020204" pitchFamily="34" charset="0"/>
              <a:buChar char="•"/>
            </a:pPr>
            <a:r>
              <a:rPr lang="en-US" b="1" i="0" dirty="0">
                <a:solidFill>
                  <a:srgbClr val="000000"/>
                </a:solidFill>
                <a:effectLst/>
                <a:latin typeface="Inter"/>
              </a:rPr>
              <a:t>Velocity:</a:t>
            </a:r>
            <a:r>
              <a:rPr lang="en-US" b="0" i="0" dirty="0">
                <a:solidFill>
                  <a:srgbClr val="000000"/>
                </a:solidFill>
                <a:effectLst/>
                <a:latin typeface="Inter"/>
              </a:rPr>
              <a:t> The speed at which new data is streaming into your system</a:t>
            </a:r>
          </a:p>
          <a:p>
            <a:pPr algn="l"/>
            <a:r>
              <a:rPr lang="en-US" b="0" i="0" dirty="0">
                <a:solidFill>
                  <a:srgbClr val="000000"/>
                </a:solidFill>
                <a:effectLst/>
                <a:latin typeface="Inter"/>
              </a:rPr>
              <a:t>Some data experts extend the definition to four, five, or more Vs. The fourth and fifth V are:</a:t>
            </a:r>
          </a:p>
          <a:p>
            <a:pPr algn="l">
              <a:buFont typeface="Arial" panose="020B0604020202020204" pitchFamily="34" charset="0"/>
              <a:buChar char="•"/>
            </a:pPr>
            <a:r>
              <a:rPr lang="en-US" b="1" i="0" dirty="0">
                <a:solidFill>
                  <a:srgbClr val="000000"/>
                </a:solidFill>
                <a:effectLst/>
                <a:latin typeface="Inter"/>
              </a:rPr>
              <a:t>Veracity:</a:t>
            </a:r>
            <a:r>
              <a:rPr lang="en-US" b="0" i="0" dirty="0">
                <a:solidFill>
                  <a:srgbClr val="000000"/>
                </a:solidFill>
                <a:effectLst/>
                <a:latin typeface="Inter"/>
              </a:rPr>
              <a:t> The quality of the data with respect to its accuracy, precision, and reliability</a:t>
            </a:r>
          </a:p>
          <a:p>
            <a:pPr algn="l">
              <a:buFont typeface="Arial" panose="020B0604020202020204" pitchFamily="34" charset="0"/>
              <a:buChar char="•"/>
            </a:pPr>
            <a:r>
              <a:rPr lang="en-US" b="1" i="0" dirty="0">
                <a:solidFill>
                  <a:srgbClr val="000000"/>
                </a:solidFill>
                <a:effectLst/>
                <a:latin typeface="Inter"/>
              </a:rPr>
              <a:t>Value:</a:t>
            </a:r>
            <a:r>
              <a:rPr lang="en-US" b="0" i="0" dirty="0">
                <a:solidFill>
                  <a:srgbClr val="000000"/>
                </a:solidFill>
                <a:effectLst/>
                <a:latin typeface="Inter"/>
              </a:rPr>
              <a:t> The value the data provides—what is it worth to your business?</a:t>
            </a:r>
          </a:p>
          <a:p>
            <a:pPr algn="l"/>
            <a:r>
              <a:rPr lang="en-US" b="0" i="0" dirty="0">
                <a:solidFill>
                  <a:srgbClr val="000000"/>
                </a:solidFill>
                <a:effectLst/>
                <a:latin typeface="Inter"/>
              </a:rPr>
              <a:t>While the list can go all the way up to </a:t>
            </a:r>
            <a:r>
              <a:rPr lang="en-US" b="0" i="0" u="none" strike="noStrike" dirty="0">
                <a:solidFill>
                  <a:srgbClr val="000000"/>
                </a:solidFill>
                <a:effectLst/>
                <a:latin typeface="Inter"/>
                <a:hlinkClick r:id="rId4"/>
              </a:rPr>
              <a:t>42 Vs</a:t>
            </a:r>
            <a:r>
              <a:rPr lang="en-US" b="0" i="0" dirty="0">
                <a:solidFill>
                  <a:srgbClr val="000000"/>
                </a:solidFill>
                <a:effectLst/>
                <a:latin typeface="Inter"/>
              </a:rPr>
              <a:t>, these five are the most commonly used to define big data.</a:t>
            </a:r>
            <a:br>
              <a:rPr lang="en-US" b="0" i="0" dirty="0">
                <a:solidFill>
                  <a:srgbClr val="000000"/>
                </a:solidFill>
                <a:effectLst/>
                <a:latin typeface="Inter"/>
              </a:rPr>
            </a:br>
            <a:endParaRPr lang="en-US" b="0" i="0" dirty="0">
              <a:solidFill>
                <a:srgbClr val="000000"/>
              </a:solidFill>
              <a:effectLst/>
              <a:latin typeface="Inter"/>
            </a:endParaRPr>
          </a:p>
          <a:p>
            <a:pPr algn="l"/>
            <a:r>
              <a:rPr lang="en-US" b="0" i="0" dirty="0">
                <a:solidFill>
                  <a:srgbClr val="000000"/>
                </a:solidFill>
                <a:effectLst/>
                <a:latin typeface="Inter"/>
              </a:rPr>
              <a:t>There are also two different flavors of big data, which differ in how they’re processed and what questions and queries they’re used to answer.</a:t>
            </a:r>
            <a:br>
              <a:rPr lang="en-US" b="0" i="0" dirty="0">
                <a:solidFill>
                  <a:srgbClr val="000000"/>
                </a:solidFill>
                <a:effectLst/>
                <a:latin typeface="Inter"/>
              </a:rPr>
            </a:br>
            <a:endParaRPr lang="en-US" b="0" i="0" dirty="0">
              <a:solidFill>
                <a:srgbClr val="000000"/>
              </a:solidFill>
              <a:effectLst/>
              <a:latin typeface="Inter"/>
            </a:endParaRPr>
          </a:p>
          <a:p>
            <a:pPr algn="l">
              <a:buFont typeface="Arial" panose="020B0604020202020204" pitchFamily="34" charset="0"/>
              <a:buChar char="•"/>
            </a:pPr>
            <a:r>
              <a:rPr lang="en-US" b="1" i="0" dirty="0">
                <a:solidFill>
                  <a:srgbClr val="000000"/>
                </a:solidFill>
                <a:effectLst/>
                <a:latin typeface="Inter"/>
              </a:rPr>
              <a:t>Batch processing</a:t>
            </a:r>
            <a:r>
              <a:rPr lang="en-US" b="0" i="0" dirty="0">
                <a:solidFill>
                  <a:srgbClr val="000000"/>
                </a:solidFill>
                <a:effectLst/>
                <a:latin typeface="Inter"/>
              </a:rPr>
              <a:t> is typically used with large amounts of stored historical data to inform long-term strategies or answer big questions. Think: huge amounts of data with complex, in-depth analysis.</a:t>
            </a:r>
          </a:p>
          <a:p>
            <a:pPr algn="l">
              <a:buFont typeface="Arial" panose="020B0604020202020204" pitchFamily="34" charset="0"/>
              <a:buChar char="•"/>
            </a:pPr>
            <a:r>
              <a:rPr lang="en-US" b="1" i="0" dirty="0">
                <a:solidFill>
                  <a:srgbClr val="000000"/>
                </a:solidFill>
                <a:effectLst/>
                <a:latin typeface="Inter"/>
              </a:rPr>
              <a:t>Streaming data</a:t>
            </a:r>
            <a:r>
              <a:rPr lang="en-US" b="0" i="0" dirty="0">
                <a:solidFill>
                  <a:srgbClr val="000000"/>
                </a:solidFill>
                <a:effectLst/>
                <a:latin typeface="Inter"/>
              </a:rPr>
              <a:t> is less about answering big questions than it is about getting immediate, real-time information for on-the-fly purposes, such as maintaining accuracy of a manufacturing process. It’s typically used with large amounts of data that are moving at a rapid pace. Think huge amounts of high-velocity data with less complex but extremely rapid analysis.</a:t>
            </a: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5220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 11: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9.xml"/><Relationship Id="rId4" Type="http://schemas.openxmlformats.org/officeDocument/2006/relationships/image" Target="../media/image17.emf"/></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4/7/2023</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6822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8848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6763019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895469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678369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9219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267896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45072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14246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13030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84511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70091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458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84615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583535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1547004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72123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42470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9753660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3857184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3518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938179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243795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620333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7705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3239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49138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87569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05977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71630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862796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24599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75164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83102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160334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1340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742841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875986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9855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587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40880"/>
      </p:ext>
    </p:extLst>
  </p:cSld>
  <p:clrMapOvr>
    <a:masterClrMapping/>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979"/>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6560532"/>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5537279"/>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76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033831212"/>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749792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42287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84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559239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1308444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07221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7810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890950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37506972"/>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3288627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17437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0871739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9591787"/>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155187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image" Target="../media/image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image" Target="../media/image2.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image" Target="../media/image47.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theme" Target="../theme/theme11.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12.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1.xml"/><Relationship Id="rId1"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3.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e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tags" Target="../tags/tag1.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image" Target="../media/image1.emf"/><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3.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ags" Target="../tags/tag2.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9" Type="http://schemas.openxmlformats.org/officeDocument/2006/relationships/slideLayout" Target="../slideLayouts/slideLayout402.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55" Type="http://schemas.openxmlformats.org/officeDocument/2006/relationships/tags" Target="../tags/tag6.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tags" Target="../tags/tag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theme" Target="../theme/theme18.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56" Type="http://schemas.openxmlformats.org/officeDocument/2006/relationships/image" Target="../media/image1.emf"/><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tags" Target="../tags/tag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2.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image" Target="../media/image3.png"/><Relationship Id="rId5" Type="http://schemas.openxmlformats.org/officeDocument/2006/relationships/slideLayout" Target="../slideLayouts/slideLayout419.xml"/><Relationship Id="rId10" Type="http://schemas.openxmlformats.org/officeDocument/2006/relationships/image" Target="../media/image2.emf"/><Relationship Id="rId4" Type="http://schemas.openxmlformats.org/officeDocument/2006/relationships/slideLayout" Target="../slideLayouts/slideLayout418.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image" Target="../media/image1.emf"/><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7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2.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theme" Target="../theme/theme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7.xml"/><Relationship Id="rId7" Type="http://schemas.openxmlformats.org/officeDocument/2006/relationships/image" Target="../media/image2.emf"/><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4" r:id="rId2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9" r:id="rId47"/>
    <p:sldLayoutId id="2147495202"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5957703"/>
      </p:ext>
    </p:extLst>
  </p:cSld>
  <p:clrMap bg1="lt1" tx1="dk1" bg2="lt2" tx2="dk2" accent1="accent1" accent2="accent2" accent3="accent3" accent4="accent4" accent5="accent5" accent6="accent6" hlink="hlink" folHlink="folHlink"/>
  <p:sldLayoutIdLst>
    <p:sldLayoutId id="2147495205" r:id="rId1"/>
    <p:sldLayoutId id="2147495206" r:id="rId2"/>
    <p:sldLayoutId id="2147495207" r:id="rId3"/>
    <p:sldLayoutId id="2147495208" r:id="rId4"/>
    <p:sldLayoutId id="2147495209" r:id="rId5"/>
    <p:sldLayoutId id="2147495210" r:id="rId6"/>
    <p:sldLayoutId id="2147495211" r:id="rId7"/>
    <p:sldLayoutId id="2147495212" r:id="rId8"/>
    <p:sldLayoutId id="2147495213" r:id="rId9"/>
    <p:sldLayoutId id="2147495214" r:id="rId10"/>
    <p:sldLayoutId id="2147495215" r:id="rId11"/>
    <p:sldLayoutId id="2147495216" r:id="rId12"/>
    <p:sldLayoutId id="2147495217" r:id="rId13"/>
    <p:sldLayoutId id="2147495218" r:id="rId14"/>
    <p:sldLayoutId id="2147495219" r:id="rId15"/>
    <p:sldLayoutId id="2147495220" r:id="rId16"/>
    <p:sldLayoutId id="2147495221" r:id="rId17"/>
    <p:sldLayoutId id="2147495222" r:id="rId18"/>
    <p:sldLayoutId id="2147495223" r:id="rId19"/>
    <p:sldLayoutId id="2147495224" r:id="rId20"/>
    <p:sldLayoutId id="2147495225" r:id="rId21"/>
    <p:sldLayoutId id="2147495226" r:id="rId22"/>
    <p:sldLayoutId id="2147495227" r:id="rId23"/>
    <p:sldLayoutId id="2147495228" r:id="rId24"/>
    <p:sldLayoutId id="2147495229" r:id="rId25"/>
    <p:sldLayoutId id="2147495230" r:id="rId26"/>
    <p:sldLayoutId id="2147495231" r:id="rId27"/>
    <p:sldLayoutId id="2147495232" r:id="rId28"/>
    <p:sldLayoutId id="2147495233" r:id="rId29"/>
    <p:sldLayoutId id="2147495234" r:id="rId30"/>
    <p:sldLayoutId id="2147495235" r:id="rId31"/>
    <p:sldLayoutId id="2147495236" r:id="rId32"/>
    <p:sldLayoutId id="2147495237" r:id="rId33"/>
    <p:sldLayoutId id="2147495238" r:id="rId34"/>
    <p:sldLayoutId id="2147495239" r:id="rId35"/>
    <p:sldLayoutId id="2147495240" r:id="rId36"/>
    <p:sldLayoutId id="2147495241" r:id="rId37"/>
    <p:sldLayoutId id="2147495242" r:id="rId38"/>
    <p:sldLayoutId id="2147495243" r:id="rId39"/>
    <p:sldLayoutId id="2147495244" r:id="rId40"/>
    <p:sldLayoutId id="2147495245" r:id="rId41"/>
    <p:sldLayoutId id="2147495246" r:id="rId42"/>
    <p:sldLayoutId id="2147495247" r:id="rId43"/>
    <p:sldLayoutId id="2147495248" r:id="rId44"/>
    <p:sldLayoutId id="2147495249" r:id="rId45"/>
    <p:sldLayoutId id="2147495250" r:id="rId46"/>
    <p:sldLayoutId id="2147495251" r:id="rId47"/>
    <p:sldLayoutId id="2147495252" r:id="rId48"/>
    <p:sldLayoutId id="2147495253" r:id="rId49"/>
    <p:sldLayoutId id="2147495254" r:id="rId50"/>
    <p:sldLayoutId id="2147495255"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203692445"/>
      </p:ext>
    </p:extLst>
  </p:cSld>
  <p:clrMap bg1="lt1" tx1="dk1" bg2="lt2" tx2="dk2" accent1="accent1" accent2="accent2" accent3="accent3" accent4="accent4" accent5="accent5" accent6="accent6" hlink="hlink" folHlink="folHlink"/>
  <p:sldLayoutIdLst>
    <p:sldLayoutId id="2147495257" r:id="rId1"/>
    <p:sldLayoutId id="2147495258" r:id="rId2"/>
    <p:sldLayoutId id="2147495259" r:id="rId3"/>
    <p:sldLayoutId id="2147495260" r:id="rId4"/>
    <p:sldLayoutId id="2147495261" r:id="rId5"/>
    <p:sldLayoutId id="2147495262" r:id="rId6"/>
    <p:sldLayoutId id="2147495263" r:id="rId7"/>
    <p:sldLayoutId id="2147495264"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 id="2147495203" r:id="rId2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361.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1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361.xml"/><Relationship Id="rId5" Type="http://schemas.openxmlformats.org/officeDocument/2006/relationships/image" Target="../media/image90.svg"/><Relationship Id="rId4" Type="http://schemas.openxmlformats.org/officeDocument/2006/relationships/image" Target="../media/image8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9.xml"/></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360.xml"/></Relationships>
</file>

<file path=ppt/slides/_rels/slide1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323.xml"/></Relationships>
</file>

<file path=ppt/slides/_rels/slide1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323.xml"/></Relationships>
</file>

<file path=ppt/slides/_rels/slide1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2.png"/><Relationship Id="rId7" Type="http://schemas.openxmlformats.org/officeDocument/2006/relationships/image" Target="../media/image99.svg"/><Relationship Id="rId2" Type="http://schemas.openxmlformats.org/officeDocument/2006/relationships/notesSlide" Target="../notesSlides/notesSlide15.xml"/><Relationship Id="rId1" Type="http://schemas.openxmlformats.org/officeDocument/2006/relationships/slideLayout" Target="../slideLayouts/slideLayout323.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104.png"/><Relationship Id="rId7" Type="http://schemas.openxmlformats.org/officeDocument/2006/relationships/image" Target="../media/image108.svg"/><Relationship Id="rId2" Type="http://schemas.openxmlformats.org/officeDocument/2006/relationships/notesSlide" Target="../notesSlides/notesSlide16.xml"/><Relationship Id="rId1" Type="http://schemas.openxmlformats.org/officeDocument/2006/relationships/slideLayout" Target="../slideLayouts/slideLayout260.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0.xml"/></Relationships>
</file>

<file path=ppt/slides/_rels/slide1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8.xml"/><Relationship Id="rId1" Type="http://schemas.openxmlformats.org/officeDocument/2006/relationships/slideLayout" Target="../slideLayouts/slideLayout274.xml"/><Relationship Id="rId5" Type="http://schemas.openxmlformats.org/officeDocument/2006/relationships/image" Target="../media/image92.png"/><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281.xml"/><Relationship Id="rId6" Type="http://schemas.openxmlformats.org/officeDocument/2006/relationships/image" Target="../media/image70.png"/><Relationship Id="rId5" Type="http://schemas.openxmlformats.org/officeDocument/2006/relationships/image" Target="../media/image69.jpg"/><Relationship Id="rId4" Type="http://schemas.openxmlformats.org/officeDocument/2006/relationships/image" Target="../media/image68.png"/><Relationship Id="rId9" Type="http://schemas.openxmlformats.org/officeDocument/2006/relationships/image" Target="../media/image73.png"/></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9.xml"/><Relationship Id="rId1" Type="http://schemas.openxmlformats.org/officeDocument/2006/relationships/slideLayout" Target="../slideLayouts/slideLayout274.xml"/><Relationship Id="rId5" Type="http://schemas.openxmlformats.org/officeDocument/2006/relationships/image" Target="../media/image110.png"/><Relationship Id="rId4" Type="http://schemas.openxmlformats.org/officeDocument/2006/relationships/image" Target="../media/image92.png"/></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274.xml"/><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0.xml"/></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2.xml"/><Relationship Id="rId1" Type="http://schemas.openxmlformats.org/officeDocument/2006/relationships/slideLayout" Target="../slideLayouts/slideLayout274.xml"/><Relationship Id="rId5" Type="http://schemas.openxmlformats.org/officeDocument/2006/relationships/image" Target="../media/image111.png"/><Relationship Id="rId4" Type="http://schemas.openxmlformats.org/officeDocument/2006/relationships/image" Target="../media/image92.png"/></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3.xml"/><Relationship Id="rId1" Type="http://schemas.openxmlformats.org/officeDocument/2006/relationships/slideLayout" Target="../slideLayouts/slideLayout274.xml"/><Relationship Id="rId5" Type="http://schemas.openxmlformats.org/officeDocument/2006/relationships/image" Target="../media/image111.png"/><Relationship Id="rId4" Type="http://schemas.openxmlformats.org/officeDocument/2006/relationships/image" Target="../media/image92.pn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4.xml"/><Relationship Id="rId1" Type="http://schemas.openxmlformats.org/officeDocument/2006/relationships/slideLayout" Target="../slideLayouts/slideLayout3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3.xml"/></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325.xml"/><Relationship Id="rId5" Type="http://schemas.openxmlformats.org/officeDocument/2006/relationships/image" Target="../media/image92.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325.xml"/><Relationship Id="rId5" Type="http://schemas.openxmlformats.org/officeDocument/2006/relationships/image" Target="../media/image92.png"/><Relationship Id="rId4" Type="http://schemas.openxmlformats.org/officeDocument/2006/relationships/image" Target="../media/image113.png"/></Relationships>
</file>

<file path=ppt/slides/_rels/slide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325.xml"/><Relationship Id="rId5" Type="http://schemas.openxmlformats.org/officeDocument/2006/relationships/image" Target="../media/image92.png"/><Relationship Id="rId4" Type="http://schemas.openxmlformats.org/officeDocument/2006/relationships/image" Target="../media/image113.png"/></Relationships>
</file>

<file path=ppt/slides/_rels/slide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0.xml"/><Relationship Id="rId1" Type="http://schemas.openxmlformats.org/officeDocument/2006/relationships/slideLayout" Target="../slideLayouts/slideLayout27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9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4.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2.xml"/><Relationship Id="rId1" Type="http://schemas.openxmlformats.org/officeDocument/2006/relationships/slideLayout" Target="../slideLayouts/slideLayout275.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118.png"/><Relationship Id="rId9" Type="http://schemas.openxmlformats.org/officeDocument/2006/relationships/image" Target="../media/image123.png"/></Relationships>
</file>

<file path=ppt/slides/_rels/slide3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xml"/><Relationship Id="rId1" Type="http://schemas.openxmlformats.org/officeDocument/2006/relationships/slideLayout" Target="../slideLayouts/slideLayout23.xml"/><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4.xml"/><Relationship Id="rId1" Type="http://schemas.openxmlformats.org/officeDocument/2006/relationships/slideLayout" Target="../slideLayouts/slideLayout249.xml"/><Relationship Id="rId4" Type="http://schemas.openxmlformats.org/officeDocument/2006/relationships/image" Target="../media/image128.svg"/></Relationships>
</file>

<file path=ppt/slides/_rels/slide3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5.xml"/><Relationship Id="rId1" Type="http://schemas.openxmlformats.org/officeDocument/2006/relationships/slideLayout" Target="../slideLayouts/slideLayout249.xml"/><Relationship Id="rId4" Type="http://schemas.openxmlformats.org/officeDocument/2006/relationships/image" Target="../media/image128.svg"/></Relationships>
</file>

<file path=ppt/slides/_rels/slide41.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Layout" Target="../slideLayouts/slideLayout249.xml"/></Relationships>
</file>

<file path=ppt/slides/_rels/slide4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39.xml"/></Relationships>
</file>

<file path=ppt/slides/_rels/slide4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39.xml"/></Relationships>
</file>

<file path=ppt/slides/_rels/slide4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39.xml"/><Relationship Id="rId4" Type="http://schemas.openxmlformats.org/officeDocument/2006/relationships/image" Target="../media/image142.png"/></Relationships>
</file>

<file path=ppt/slides/_rels/slide4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39.xml"/><Relationship Id="rId4" Type="http://schemas.openxmlformats.org/officeDocument/2006/relationships/image" Target="../media/image145.png"/></Relationships>
</file>

<file path=ppt/slides/_rels/slide4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239.xml"/></Relationships>
</file>

<file path=ppt/slides/_rels/slide4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3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6.xml"/><Relationship Id="rId1" Type="http://schemas.openxmlformats.org/officeDocument/2006/relationships/tags" Target="../tags/tag7.xml"/><Relationship Id="rId5" Type="http://schemas.openxmlformats.org/officeDocument/2006/relationships/image" Target="../media/image75.svg"/><Relationship Id="rId4" Type="http://schemas.openxmlformats.org/officeDocument/2006/relationships/image" Target="../media/image74.png"/></Relationships>
</file>

<file path=ppt/slides/_rels/slide50.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svg"/><Relationship Id="rId2" Type="http://schemas.openxmlformats.org/officeDocument/2006/relationships/notesSlide" Target="../notesSlides/notesSlide36.xml"/><Relationship Id="rId16" Type="http://schemas.openxmlformats.org/officeDocument/2006/relationships/image" Target="../media/image163.svg"/><Relationship Id="rId1" Type="http://schemas.openxmlformats.org/officeDocument/2006/relationships/slideLayout" Target="../slideLayouts/slideLayout28.xml"/><Relationship Id="rId6" Type="http://schemas.openxmlformats.org/officeDocument/2006/relationships/image" Target="../media/image153.sv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svg"/><Relationship Id="rId4" Type="http://schemas.openxmlformats.org/officeDocument/2006/relationships/image" Target="../media/image151.svg"/><Relationship Id="rId9" Type="http://schemas.openxmlformats.org/officeDocument/2006/relationships/image" Target="../media/image156.png"/><Relationship Id="rId14" Type="http://schemas.openxmlformats.org/officeDocument/2006/relationships/image" Target="../media/image161.svg"/></Relationships>
</file>

<file path=ppt/slides/_rels/slide5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7.xml"/><Relationship Id="rId1" Type="http://schemas.openxmlformats.org/officeDocument/2006/relationships/slideLayout" Target="../slideLayouts/slideLayout239.xml"/><Relationship Id="rId4" Type="http://schemas.openxmlformats.org/officeDocument/2006/relationships/image" Target="../media/image165.png"/></Relationships>
</file>

<file path=ppt/slides/_rels/slide5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8.xml"/><Relationship Id="rId1" Type="http://schemas.openxmlformats.org/officeDocument/2006/relationships/slideLayout" Target="../slideLayouts/slideLayout23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2.xml"/></Relationships>
</file>

<file path=ppt/slides/_rels/slide54.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7.png"/><Relationship Id="rId1" Type="http://schemas.openxmlformats.org/officeDocument/2006/relationships/slideLayout" Target="../slideLayouts/slideLayout249.xml"/></Relationships>
</file>

<file path=ppt/slides/_rels/slide5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0.xml"/><Relationship Id="rId1" Type="http://schemas.openxmlformats.org/officeDocument/2006/relationships/slideLayout" Target="../slideLayouts/slideLayout239.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5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1.xml"/><Relationship Id="rId1" Type="http://schemas.openxmlformats.org/officeDocument/2006/relationships/slideLayout" Target="../slideLayouts/slideLayout239.xml"/><Relationship Id="rId4" Type="http://schemas.openxmlformats.org/officeDocument/2006/relationships/image" Target="../media/image174.png"/></Relationships>
</file>

<file path=ppt/slides/_rels/slide57.xml.rels><?xml version="1.0" encoding="UTF-8" standalone="yes"?>
<Relationships xmlns="http://schemas.openxmlformats.org/package/2006/relationships"><Relationship Id="rId8" Type="http://schemas.openxmlformats.org/officeDocument/2006/relationships/image" Target="../media/image180.sv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42.xml"/><Relationship Id="rId1" Type="http://schemas.openxmlformats.org/officeDocument/2006/relationships/slideLayout" Target="../slideLayouts/slideLayout239.xml"/><Relationship Id="rId6" Type="http://schemas.openxmlformats.org/officeDocument/2006/relationships/image" Target="../media/image178.svg"/><Relationship Id="rId5" Type="http://schemas.openxmlformats.org/officeDocument/2006/relationships/image" Target="../media/image177.png"/><Relationship Id="rId4" Type="http://schemas.openxmlformats.org/officeDocument/2006/relationships/image" Target="../media/image176.svg"/></Relationships>
</file>

<file path=ppt/slides/_rels/slide58.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svg"/><Relationship Id="rId2" Type="http://schemas.openxmlformats.org/officeDocument/2006/relationships/notesSlide" Target="../notesSlides/notesSlide43.xml"/><Relationship Id="rId16" Type="http://schemas.openxmlformats.org/officeDocument/2006/relationships/image" Target="../media/image163.svg"/><Relationship Id="rId1" Type="http://schemas.openxmlformats.org/officeDocument/2006/relationships/slideLayout" Target="../slideLayouts/slideLayout239.xml"/><Relationship Id="rId6" Type="http://schemas.openxmlformats.org/officeDocument/2006/relationships/image" Target="../media/image153.sv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svg"/><Relationship Id="rId4" Type="http://schemas.openxmlformats.org/officeDocument/2006/relationships/image" Target="../media/image151.svg"/><Relationship Id="rId9" Type="http://schemas.openxmlformats.org/officeDocument/2006/relationships/image" Target="../media/image156.png"/><Relationship Id="rId14" Type="http://schemas.openxmlformats.org/officeDocument/2006/relationships/image" Target="../media/image161.svg"/></Relationships>
</file>

<file path=ppt/slides/_rels/slide5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4.xml"/><Relationship Id="rId1" Type="http://schemas.openxmlformats.org/officeDocument/2006/relationships/slideLayout" Target="../slideLayouts/slideLayout239.xml"/><Relationship Id="rId4" Type="http://schemas.openxmlformats.org/officeDocument/2006/relationships/image" Target="../media/image182.png"/></Relationships>
</file>

<file path=ppt/slides/_rels/slide6.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5.xml"/><Relationship Id="rId1" Type="http://schemas.openxmlformats.org/officeDocument/2006/relationships/slideLayout" Target="../slideLayouts/slideLayout261.xml"/><Relationship Id="rId6" Type="http://schemas.openxmlformats.org/officeDocument/2006/relationships/image" Target="../media/image79.sv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s>
</file>

<file path=ppt/slides/_rels/slide60.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3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15.xml"/></Relationships>
</file>

<file path=ppt/slides/_rels/slide6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6.xml"/><Relationship Id="rId1" Type="http://schemas.openxmlformats.org/officeDocument/2006/relationships/slideLayout" Target="../slideLayouts/slideLayout52.xml"/><Relationship Id="rId5" Type="http://schemas.openxmlformats.org/officeDocument/2006/relationships/image" Target="../media/image186.png"/><Relationship Id="rId4" Type="http://schemas.openxmlformats.org/officeDocument/2006/relationships/image" Target="../media/image185.png"/></Relationships>
</file>

<file path=ppt/slides/_rels/slide6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7.xml"/><Relationship Id="rId1" Type="http://schemas.openxmlformats.org/officeDocument/2006/relationships/slideLayout" Target="../slideLayouts/slideLayout23.xml"/><Relationship Id="rId5" Type="http://schemas.openxmlformats.org/officeDocument/2006/relationships/image" Target="../media/image126.png"/><Relationship Id="rId4" Type="http://schemas.openxmlformats.org/officeDocument/2006/relationships/image" Target="../media/image188.png"/></Relationships>
</file>

<file path=ppt/slides/_rels/slide6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8.xml"/><Relationship Id="rId1" Type="http://schemas.openxmlformats.org/officeDocument/2006/relationships/slideLayout" Target="../slideLayouts/slideLayout276.xml"/><Relationship Id="rId5" Type="http://schemas.openxmlformats.org/officeDocument/2006/relationships/image" Target="../media/image126.png"/><Relationship Id="rId4" Type="http://schemas.openxmlformats.org/officeDocument/2006/relationships/image" Target="../media/image188.png"/></Relationships>
</file>

<file path=ppt/slides/_rels/slide6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19.xml"/><Relationship Id="rId4" Type="http://schemas.openxmlformats.org/officeDocument/2006/relationships/image" Target="../media/image191.png"/></Relationships>
</file>

<file path=ppt/slides/_rels/slide69.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0.xml"/></Relationships>
</file>

<file path=ppt/slides/_rels/slide70.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49.xml"/><Relationship Id="rId1" Type="http://schemas.openxmlformats.org/officeDocument/2006/relationships/slideLayout" Target="../slideLayouts/slideLayout167.xml"/><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hyperlink" Target="https://aka.ms/synapse"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0.xml"/><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9.xml"/><Relationship Id="rId1" Type="http://schemas.openxmlformats.org/officeDocument/2006/relationships/tags" Target="../tags/tag8.xml"/><Relationship Id="rId4" Type="http://schemas.openxmlformats.org/officeDocument/2006/relationships/image" Target="../media/image196.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323.xml"/><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3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54861" y="1321080"/>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Before Synapse)</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97C019BA-59B7-4DBE-A2F7-F43F45903E22}"/>
              </a:ext>
            </a:extLst>
          </p:cNvPr>
          <p:cNvSpPr txBox="1"/>
          <p:nvPr/>
        </p:nvSpPr>
        <p:spPr>
          <a:xfrm>
            <a:off x="6738741" y="3235101"/>
            <a:ext cx="1676741" cy="387798"/>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Dedicated SQL Pool </a:t>
            </a:r>
          </a:p>
          <a:p>
            <a:pPr marL="0" marR="0" lvl="0" indent="0" algn="l" defTabSz="914367" rtl="0" eaLnBrk="1" fontAlgn="auto" latinLnBrk="0" hangingPunct="1">
              <a:lnSpc>
                <a:spcPct val="90000"/>
              </a:lnSpc>
              <a:spcBef>
                <a:spcPts val="0"/>
              </a:spcBef>
              <a:spcAft>
                <a:spcPts val="0"/>
              </a:spcAft>
              <a:buClrTx/>
              <a:buSzTx/>
              <a:buFontTx/>
              <a:buNone/>
              <a:tabLst/>
              <a:defRPr/>
            </a:pPr>
            <a:r>
              <a:rPr lang="en-US" dirty="0">
                <a:solidFill>
                  <a:srgbClr val="000000"/>
                </a:solidFill>
                <a:latin typeface="Segoe UI Semibold"/>
              </a:rPr>
              <a:t>(Formerly SQL DW)</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7" name="Picture 26">
            <a:extLst>
              <a:ext uri="{FF2B5EF4-FFF2-40B4-BE49-F238E27FC236}">
                <a16:creationId xmlns:a16="http://schemas.microsoft.com/office/drawing/2014/main" id="{39D71FFA-E15D-A53E-4326-95E01D0D8856}"/>
              </a:ext>
            </a:extLst>
          </p:cNvPr>
          <p:cNvPicPr>
            <a:picLocks noChangeAspect="1"/>
          </p:cNvPicPr>
          <p:nvPr/>
        </p:nvPicPr>
        <p:blipFill>
          <a:blip r:embed="rId7"/>
          <a:stretch>
            <a:fillRect/>
          </a:stretch>
        </p:blipFill>
        <p:spPr>
          <a:xfrm>
            <a:off x="5814785" y="2962731"/>
            <a:ext cx="795242" cy="751061"/>
          </a:xfrm>
          <a:prstGeom prst="rect">
            <a:avLst/>
          </a:prstGeom>
        </p:spPr>
      </p:pic>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with Synapse</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2216494" y="1867237"/>
            <a:ext cx="6360615"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Ingest, Prep, 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D6936F9-7C27-417D-B057-504A157DB17A}"/>
              </a:ext>
            </a:extLst>
          </p:cNvPr>
          <p:cNvSpPr txBox="1"/>
          <p:nvPr/>
        </p:nvSpPr>
        <p:spPr>
          <a:xfrm>
            <a:off x="9089024" y="3505908"/>
            <a:ext cx="2390286" cy="553998"/>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368384" y="3124115"/>
            <a:ext cx="2092469" cy="1292662"/>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Brings together Enterprise Data Warehousing and Big Data Analytic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Segoe UI" panose="020B0502040204020203" pitchFamily="34" charset="0"/>
                <a:cs typeface="Segoe UI" panose="020B0502040204020203" pitchFamily="34" charset="0"/>
              </a:rPr>
              <a:t>Unified Environment for Data Engineers, Data Scientists, and Data Analysts</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5" y="5699236"/>
            <a:ext cx="2072250" cy="553998"/>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16954" y="2916016"/>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309865" y="2721754"/>
            <a:ext cx="743756" cy="553999"/>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2953656" y="2438887"/>
            <a:ext cx="1802022" cy="1802022"/>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4907634" y="2694417"/>
            <a:ext cx="3390949" cy="221599"/>
          </a:xfrm>
          <a:prstGeom prst="rect">
            <a:avLst/>
          </a:prstGeom>
          <a:noFill/>
        </p:spPr>
        <p:txBody>
          <a:bodyPr wrap="squar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n-lt"/>
                <a:ea typeface="+mn-ea"/>
                <a:cs typeface="+mn-cs"/>
              </a:rPr>
              <a:t>Azure Synapse Analytics (SQL Pool)</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19071" y="5476989"/>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 Lake Storage</a:t>
            </a:r>
          </a:p>
        </p:txBody>
      </p:sp>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2174" y="5410834"/>
            <a:ext cx="593826" cy="654367"/>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0693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3691865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Standalone Pools vs Workspace Pools</a:t>
            </a:r>
          </a:p>
        </p:txBody>
      </p:sp>
      <p:pic>
        <p:nvPicPr>
          <p:cNvPr id="1026" name="Picture 2" descr="Dedicated SQL pool (formerly SQL DW) in relation to Azure Synapse">
            <a:extLst>
              <a:ext uri="{FF2B5EF4-FFF2-40B4-BE49-F238E27FC236}">
                <a16:creationId xmlns:a16="http://schemas.microsoft.com/office/drawing/2014/main" id="{6C8DF184-6ED6-6AB8-CCF2-A4FA17EB05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85" y="1081401"/>
            <a:ext cx="9696702" cy="55581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1613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d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739042"/>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nvGraphicFramePr>
        <p:xfrm>
          <a:off x="1061544" y="953198"/>
          <a:ext cx="10068912" cy="5615242"/>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1678152">
                  <a:extLst>
                    <a:ext uri="{9D8B030D-6E8A-4147-A177-3AD203B41FA5}">
                      <a16:colId xmlns:a16="http://schemas.microsoft.com/office/drawing/2014/main" val="1432371333"/>
                    </a:ext>
                  </a:extLst>
                </a:gridCol>
                <a:gridCol w="1678152">
                  <a:extLst>
                    <a:ext uri="{9D8B030D-6E8A-4147-A177-3AD203B41FA5}">
                      <a16:colId xmlns:a16="http://schemas.microsoft.com/office/drawing/2014/main" val="946483975"/>
                    </a:ext>
                  </a:extLst>
                </a:gridCol>
                <a:gridCol w="1678152">
                  <a:extLst>
                    <a:ext uri="{9D8B030D-6E8A-4147-A177-3AD203B41FA5}">
                      <a16:colId xmlns:a16="http://schemas.microsoft.com/office/drawing/2014/main" val="3302170393"/>
                    </a:ext>
                  </a:extLst>
                </a:gridCol>
                <a:gridCol w="1678152">
                  <a:extLst>
                    <a:ext uri="{9D8B030D-6E8A-4147-A177-3AD203B41FA5}">
                      <a16:colId xmlns:a16="http://schemas.microsoft.com/office/drawing/2014/main" val="95133298"/>
                    </a:ext>
                  </a:extLst>
                </a:gridCol>
                <a:gridCol w="1678152">
                  <a:extLst>
                    <a:ext uri="{9D8B030D-6E8A-4147-A177-3AD203B41FA5}">
                      <a16:colId xmlns:a16="http://schemas.microsoft.com/office/drawing/2014/main" val="3313515893"/>
                    </a:ext>
                  </a:extLst>
                </a:gridCol>
                <a:gridCol w="1678152">
                  <a:extLst>
                    <a:ext uri="{9D8B030D-6E8A-4147-A177-3AD203B41FA5}">
                      <a16:colId xmlns:a16="http://schemas.microsoft.com/office/drawing/2014/main" val="2130739386"/>
                    </a:ext>
                  </a:extLst>
                </a:gridCol>
              </a:tblGrid>
              <a:tr h="320040">
                <a:tc>
                  <a:txBody>
                    <a:bodyPr/>
                    <a:lstStyle/>
                    <a:p>
                      <a:pPr algn="ctr"/>
                      <a:r>
                        <a:rPr lang="en-US" sz="1400" dirty="0" err="1">
                          <a:solidFill>
                            <a:schemeClr val="bg1"/>
                          </a:solidFill>
                          <a:latin typeface="+mj-lt"/>
                        </a:rPr>
                        <a:t>cDWU</a:t>
                      </a:r>
                      <a:endParaRPr lang="en-US" sz="1400" dirty="0">
                        <a:solidFill>
                          <a:schemeClr val="bg1"/>
                        </a:solidFill>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latin typeface="+mj-lt"/>
                        </a:rPr>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latin typeface="+mj-lt"/>
                        </a:rPr>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1" u="none" strike="noStrike" dirty="0">
                          <a:solidFill>
                            <a:schemeClr val="bg1"/>
                          </a:solidFill>
                          <a:effectLst/>
                          <a:latin typeface="+mj-lt"/>
                        </a:rPr>
                        <a:t>Memory per data warehouse (GB)</a:t>
                      </a:r>
                      <a:endParaRPr lang="en-US" sz="1400" b="1" i="0" u="none" strike="noStrike" dirty="0">
                        <a:solidFill>
                          <a:schemeClr val="bg1"/>
                        </a:solidFill>
                        <a:effectLst/>
                        <a:latin typeface="+mj-lt"/>
                      </a:endParaRPr>
                    </a:p>
                  </a:txBody>
                  <a:tcPr marL="67882" marR="67882" marT="33941" marB="339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mj-lt"/>
                        </a:rPr>
                        <a:t>Tempdb </a:t>
                      </a:r>
                    </a:p>
                    <a:p>
                      <a:pPr algn="ctr" fontAlgn="ctr"/>
                      <a:r>
                        <a:rPr lang="en-US" sz="1400" u="none" strike="noStrike" dirty="0">
                          <a:solidFill>
                            <a:schemeClr val="bg1"/>
                          </a:solidFill>
                          <a:effectLst/>
                          <a:latin typeface="+mj-lt"/>
                        </a:rPr>
                        <a:t>(TB)</a:t>
                      </a:r>
                      <a:endParaRPr lang="en-US" sz="1400" b="0" i="0" u="none" strike="noStrike" dirty="0">
                        <a:solidFill>
                          <a:schemeClr val="bg1"/>
                        </a:solidFill>
                        <a:effectLst/>
                        <a:latin typeface="+mj-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chemeClr val="bg1"/>
                          </a:solidFill>
                          <a:effectLst/>
                          <a:latin typeface="+mj-lt"/>
                        </a:rPr>
                        <a:t>Adaptive Cache</a:t>
                      </a:r>
                    </a:p>
                    <a:p>
                      <a:pPr algn="ctr" fontAlgn="ctr"/>
                      <a:r>
                        <a:rPr lang="en-US" sz="1400" b="0" i="0" u="none" strike="noStrike" dirty="0">
                          <a:solidFill>
                            <a:schemeClr val="bg1"/>
                          </a:solidFill>
                          <a:effectLst/>
                          <a:latin typeface="+mj-lt"/>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400" dirty="0">
                          <a:effectLst/>
                          <a:latin typeface="+mn-l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6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4</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3</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400" dirty="0">
                          <a:effectLst/>
                          <a:latin typeface="+mn-l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2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8</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6</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400">
                          <a:effectLst/>
                          <a:latin typeface="+mn-l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8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9</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400">
                          <a:effectLst/>
                          <a:latin typeface="+mn-l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24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6</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400" dirty="0">
                          <a:effectLst/>
                          <a:latin typeface="+mn-l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5</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400">
                          <a:effectLst/>
                          <a:latin typeface="+mn-l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6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4</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3</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400">
                          <a:effectLst/>
                          <a:latin typeface="+mn-l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9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4.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400">
                          <a:effectLst/>
                          <a:latin typeface="+mn-l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2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6</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400">
                          <a:effectLst/>
                          <a:latin typeface="+mn-l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5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7.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400">
                          <a:effectLst/>
                          <a:latin typeface="+mn-l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18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2</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400">
                          <a:effectLst/>
                          <a:latin typeface="+mn-l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400">
                          <a:effectLst/>
                          <a:latin typeface="+mn-l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6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23</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8</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400">
                          <a:effectLst/>
                          <a:latin typeface="+mn-l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45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2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22.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400">
                          <a:effectLst/>
                          <a:latin typeface="+mn-l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6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3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30</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400">
                          <a:effectLst/>
                          <a:latin typeface="+mn-l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9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58</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4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400">
                          <a:effectLst/>
                          <a:latin typeface="+mn-l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180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17</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0</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1644408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2256559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32560859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869320" y="1181386"/>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435189" y="2537769"/>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435189" y="2537769"/>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243572" y="2537769"/>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75685" y="2537771"/>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57777" y="3959177"/>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330146" y="2906160"/>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051478" y="2906160"/>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772809" y="2906160"/>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494140" y="2919338"/>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048798" y="1956377"/>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654421" y="3547277"/>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293308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521175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7490428"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09" name="Rounded Rectangle 108"/>
          <p:cNvSpPr/>
          <p:nvPr/>
        </p:nvSpPr>
        <p:spPr>
          <a:xfrm>
            <a:off x="8955645" y="2547746"/>
            <a:ext cx="2925665" cy="1188551"/>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mpute </a:t>
            </a:r>
          </a:p>
          <a:p>
            <a:pPr algn="ctr" defTabSz="878692">
              <a:defRPr/>
            </a:pPr>
            <a:r>
              <a:rPr lang="en-US" sz="1600" kern="0" dirty="0">
                <a:solidFill>
                  <a:prstClr val="white"/>
                </a:solidFill>
                <a:latin typeface="Calibri" panose="020F0502020204030204"/>
              </a:rPr>
              <a:t>Handles query processing, ability to scale up/down</a:t>
            </a:r>
          </a:p>
        </p:txBody>
      </p:sp>
      <p:sp>
        <p:nvSpPr>
          <p:cNvPr id="111" name="Rounded Rectangle 110"/>
          <p:cNvSpPr/>
          <p:nvPr/>
        </p:nvSpPr>
        <p:spPr>
          <a:xfrm>
            <a:off x="8955645" y="1135992"/>
            <a:ext cx="2925665" cy="1188551"/>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ntrol </a:t>
            </a:r>
          </a:p>
          <a:p>
            <a:pPr algn="ctr" defTabSz="878692">
              <a:defRPr/>
            </a:pPr>
            <a:r>
              <a:rPr lang="en-US" sz="1600"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8955645" y="3959500"/>
            <a:ext cx="2925665" cy="1188551"/>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rPr>
              <a:t>DMS: </a:t>
            </a:r>
            <a:r>
              <a:rPr lang="en-US" sz="1600" u="sng" kern="0" dirty="0">
                <a:solidFill>
                  <a:prstClr val="white"/>
                </a:solidFill>
                <a:latin typeface="Calibri" panose="020F0502020204030204"/>
              </a:rPr>
              <a:t>Data Movement Services / Instant Data Movement</a:t>
            </a:r>
          </a:p>
          <a:p>
            <a:pPr algn="ctr" defTabSz="878692">
              <a:defRPr/>
            </a:pPr>
            <a:r>
              <a:rPr lang="en-US" sz="1600"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01189" y="5294657"/>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4239" y="5657929"/>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8955645" y="5371254"/>
            <a:ext cx="2925665" cy="1188551"/>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prstClr val="white"/>
                </a:solidFill>
                <a:effectLst/>
                <a:uLnTx/>
                <a:uFillTx/>
                <a:latin typeface="Segoe UI Semilight"/>
              </a:rPr>
              <a:t>Storage</a:t>
            </a:r>
            <a:endParaRPr kumimoji="0" lang="en-US" sz="1600" b="0" i="0" u="sng" strike="noStrike" kern="0" cap="none" spc="0" normalizeH="0" baseline="0" noProof="0" dirty="0">
              <a:ln>
                <a:noFill/>
              </a:ln>
              <a:solidFill>
                <a:prstClr val="white"/>
              </a:solidFill>
              <a:effectLst/>
              <a:uLnTx/>
              <a:uFillTx/>
              <a:latin typeface="Calibri" panose="020F0502020204030204"/>
            </a:endParaRPr>
          </a:p>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55638" y="320040"/>
            <a:ext cx="10880725" cy="923330"/>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55638" y="1408114"/>
            <a:ext cx="3786822" cy="4819650"/>
          </a:xfrm>
        </p:spPr>
        <p:txBody>
          <a:bodyPr vert="horz" lIns="0" tIns="0" rIns="0" bIns="0" rtlCol="0" anchor="t">
            <a:normAutofit/>
          </a:bodyPr>
          <a:lstStyle/>
          <a:p>
            <a:pPr marL="466090" indent="-466090">
              <a:buFont typeface="Arial" panose="020B0604020202020204" pitchFamily="34" charset="0"/>
              <a:buChar char="•"/>
            </a:pPr>
            <a:r>
              <a:rPr lang="en-US" sz="2000" dirty="0">
                <a:cs typeface="Segoe UI"/>
              </a:rPr>
              <a:t>300 GB per DWU500</a:t>
            </a:r>
          </a:p>
          <a:p>
            <a:pPr marL="466090" indent="-466090">
              <a:buFont typeface="Arial" panose="020B0604020202020204" pitchFamily="34" charset="0"/>
              <a:buChar char="•"/>
            </a:pPr>
            <a:r>
              <a:rPr lang="en-US" sz="2000" dirty="0">
                <a:cs typeface="Segoe UI"/>
              </a:rPr>
              <a:t>1.5TB cache per DWU 500</a:t>
            </a:r>
            <a:endParaRPr lang="en-US" dirty="0">
              <a:cs typeface="Segoe UI"/>
            </a:endParaRPr>
          </a:p>
          <a:p>
            <a:pPr marL="466090" indent="-466090">
              <a:buFont typeface="Arial" panose="020B0604020202020204" pitchFamily="34" charset="0"/>
              <a:buChar char="•"/>
            </a:pPr>
            <a:r>
              <a:rPr lang="en-US" sz="2000" dirty="0"/>
              <a:t>EXEC </a:t>
            </a:r>
            <a:r>
              <a:rPr lang="en-US" sz="2000" b="1" dirty="0" err="1"/>
              <a:t>sp_spaceused</a:t>
            </a:r>
            <a:r>
              <a:rPr lang="en-US" sz="2000" dirty="0"/>
              <a:t> </a:t>
            </a:r>
          </a:p>
          <a:p>
            <a:pPr marL="466090" indent="-466090">
              <a:buFont typeface="Arial" panose="020B0604020202020204" pitchFamily="34" charset="0"/>
              <a:buChar char="•"/>
            </a:pPr>
            <a:r>
              <a:rPr lang="en-US" sz="2000" dirty="0"/>
              <a:t>This cache is </a:t>
            </a:r>
            <a:r>
              <a:rPr lang="en-US" sz="2000" i="1" dirty="0"/>
              <a:t>per node</a:t>
            </a:r>
          </a:p>
          <a:p>
            <a:pPr marL="310515" indent="-310515"/>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extLst>
              <p:ext uri="{D42A27DB-BD31-4B8C-83A1-F6EECF244321}">
                <p14:modId xmlns:p14="http://schemas.microsoft.com/office/powerpoint/2010/main" val="996604620"/>
              </p:ext>
            </p:extLst>
          </p:nvPr>
        </p:nvGraphicFramePr>
        <p:xfrm>
          <a:off x="4442460" y="1243370"/>
          <a:ext cx="6861296" cy="5334361"/>
        </p:xfrm>
        <a:graphic>
          <a:graphicData uri="http://schemas.openxmlformats.org/drawingml/2006/table">
            <a:tbl>
              <a:tblPr>
                <a:tableStyleId>{5C22544A-7EE6-4342-B048-85BDC9FD1C3A}</a:tableStyleId>
              </a:tblPr>
              <a:tblGrid>
                <a:gridCol w="1811723">
                  <a:extLst>
                    <a:ext uri="{9D8B030D-6E8A-4147-A177-3AD203B41FA5}">
                      <a16:colId xmlns:a16="http://schemas.microsoft.com/office/drawing/2014/main" val="2286826540"/>
                    </a:ext>
                  </a:extLst>
                </a:gridCol>
                <a:gridCol w="1864159">
                  <a:extLst>
                    <a:ext uri="{9D8B030D-6E8A-4147-A177-3AD203B41FA5}">
                      <a16:colId xmlns:a16="http://schemas.microsoft.com/office/drawing/2014/main" val="470242949"/>
                    </a:ext>
                  </a:extLst>
                </a:gridCol>
                <a:gridCol w="1592707">
                  <a:extLst>
                    <a:ext uri="{9D8B030D-6E8A-4147-A177-3AD203B41FA5}">
                      <a16:colId xmlns:a16="http://schemas.microsoft.com/office/drawing/2014/main" val="1345424083"/>
                    </a:ext>
                  </a:extLst>
                </a:gridCol>
                <a:gridCol w="1592707">
                  <a:extLst>
                    <a:ext uri="{9D8B030D-6E8A-4147-A177-3AD203B41FA5}">
                      <a16:colId xmlns:a16="http://schemas.microsoft.com/office/drawing/2014/main" val="1049291834"/>
                    </a:ext>
                  </a:extLst>
                </a:gridCol>
              </a:tblGrid>
              <a:tr h="0">
                <a:tc>
                  <a:txBody>
                    <a:bodyPr/>
                    <a:lstStyle/>
                    <a:p>
                      <a:pPr algn="ctr" fontAlgn="ctr"/>
                      <a:r>
                        <a:rPr lang="en-US" sz="2000" b="0" i="0" u="none" strike="noStrike">
                          <a:solidFill>
                            <a:srgbClr val="000000"/>
                          </a:solidFill>
                          <a:effectLst/>
                          <a:latin typeface="Segoe UI (Body)"/>
                        </a:rPr>
                        <a:t>DWU</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8935">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8935">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8935">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8935">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8935">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8935">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8935">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8935">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8935">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8935">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8935">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208" name="Compute Node 05"/>
          <p:cNvPicPr>
            <a:picLocks noChangeAspect="1"/>
          </p:cNvPicPr>
          <p:nvPr/>
        </p:nvPicPr>
        <p:blipFill>
          <a:blip r:embed="rId4">
            <a:biLevel thresh="25000"/>
          </a:blip>
          <a:stretch>
            <a:fillRect/>
          </a:stretch>
        </p:blipFill>
        <p:spPr>
          <a:xfrm>
            <a:off x="5300489" y="2747644"/>
            <a:ext cx="764842" cy="764842"/>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474305" y="2747644"/>
            <a:ext cx="764842" cy="764842"/>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648120" y="2747644"/>
            <a:ext cx="764842" cy="764842"/>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21935" y="2747644"/>
            <a:ext cx="764842" cy="764842"/>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1995752" y="2747644"/>
            <a:ext cx="764842" cy="764842"/>
          </a:xfrm>
          <a:prstGeom prst="rect">
            <a:avLst/>
          </a:prstGeom>
          <a:ln>
            <a:noFill/>
          </a:ln>
        </p:spPr>
      </p:pic>
      <p:grpSp>
        <p:nvGrpSpPr>
          <p:cNvPr id="6" name="Control Set"/>
          <p:cNvGrpSpPr/>
          <p:nvPr/>
        </p:nvGrpSpPr>
        <p:grpSpPr>
          <a:xfrm>
            <a:off x="5713580" y="1735023"/>
            <a:ext cx="2287447" cy="764842"/>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431410" y="2747644"/>
            <a:ext cx="764842" cy="764842"/>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605227" y="2747644"/>
            <a:ext cx="764842" cy="764842"/>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779041" y="2747644"/>
            <a:ext cx="764842" cy="764842"/>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6952858" y="2747644"/>
            <a:ext cx="764842" cy="764842"/>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126672" y="2747644"/>
            <a:ext cx="764842" cy="764842"/>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300489" y="2747644"/>
            <a:ext cx="764842" cy="764842"/>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474305" y="2747644"/>
            <a:ext cx="764842" cy="764842"/>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Agenda</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5384038"/>
              </p:ext>
            </p:extLst>
          </p:nvPr>
        </p:nvGraphicFramePr>
        <p:xfrm>
          <a:off x="374840" y="1147027"/>
          <a:ext cx="11442319" cy="5315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7" name="Picture 26">
            <a:extLst>
              <a:ext uri="{FF2B5EF4-FFF2-40B4-BE49-F238E27FC236}">
                <a16:creationId xmlns:a16="http://schemas.microsoft.com/office/drawing/2014/main" id="{89C2659F-B0B9-8954-F36F-5FA8913FB73A}"/>
              </a:ext>
            </a:extLst>
          </p:cNvPr>
          <p:cNvPicPr>
            <a:picLocks noChangeAspect="1"/>
          </p:cNvPicPr>
          <p:nvPr/>
        </p:nvPicPr>
        <p:blipFill>
          <a:blip r:embed="rId8"/>
          <a:stretch>
            <a:fillRect/>
          </a:stretch>
        </p:blipFill>
        <p:spPr>
          <a:xfrm>
            <a:off x="9242855" y="4361338"/>
            <a:ext cx="2082638" cy="2101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2240413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pSp>
        <p:nvGrpSpPr>
          <p:cNvPr id="4" name="Group 3"/>
          <p:cNvGrpSpPr/>
          <p:nvPr/>
        </p:nvGrpSpPr>
        <p:grpSpPr>
          <a:xfrm>
            <a:off x="8165291" y="1394093"/>
            <a:ext cx="3771449" cy="3212026"/>
            <a:chOff x="4264819" y="1763395"/>
            <a:chExt cx="3657600" cy="3460630"/>
          </a:xfrm>
          <a:solidFill>
            <a:schemeClr val="accent2">
              <a:lumMod val="20000"/>
              <a:lumOff val="80000"/>
            </a:schemeClr>
          </a:solidFill>
        </p:grpSpPr>
        <p:sp>
          <p:nvSpPr>
            <p:cNvPr id="5" name="Rectangle 4"/>
            <p:cNvSpPr/>
            <p:nvPr/>
          </p:nvSpPr>
          <p:spPr bwMode="auto">
            <a:xfrm>
              <a:off x="4264819" y="1763395"/>
              <a:ext cx="3657600" cy="819597"/>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sp>
          <p:nvSpPr>
            <p:cNvPr id="6" name="Rectangle 5"/>
            <p:cNvSpPr/>
            <p:nvPr/>
          </p:nvSpPr>
          <p:spPr bwMode="auto">
            <a:xfrm>
              <a:off x="4264819" y="2582992"/>
              <a:ext cx="3657600" cy="2641033"/>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6" name="TextBox 15"/>
          <p:cNvSpPr txBox="1"/>
          <p:nvPr/>
        </p:nvSpPr>
        <p:spPr>
          <a:xfrm>
            <a:off x="8320926" y="1423829"/>
            <a:ext cx="3566809" cy="398279"/>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eplicated</a:t>
            </a:r>
          </a:p>
        </p:txBody>
      </p:sp>
      <p:grpSp>
        <p:nvGrpSpPr>
          <p:cNvPr id="17" name="Group 16"/>
          <p:cNvGrpSpPr/>
          <p:nvPr/>
        </p:nvGrpSpPr>
        <p:grpSpPr>
          <a:xfrm>
            <a:off x="4217446" y="1381917"/>
            <a:ext cx="3771449" cy="3176056"/>
            <a:chOff x="3127344" y="1198457"/>
            <a:chExt cx="2898575" cy="2001761"/>
          </a:xfrm>
          <a:solidFill>
            <a:schemeClr val="accent2">
              <a:lumMod val="20000"/>
              <a:lumOff val="80000"/>
            </a:schemeClr>
          </a:solidFill>
        </p:grpSpPr>
        <p:grpSp>
          <p:nvGrpSpPr>
            <p:cNvPr id="7" name="Group 6"/>
            <p:cNvGrpSpPr/>
            <p:nvPr/>
          </p:nvGrpSpPr>
          <p:grpSpPr>
            <a:xfrm>
              <a:off x="3127344" y="1198457"/>
              <a:ext cx="2898575" cy="2001761"/>
              <a:chOff x="4264819" y="1755904"/>
              <a:chExt cx="3657600" cy="3199974"/>
            </a:xfrm>
            <a:grpFill/>
          </p:grpSpPr>
          <p:sp>
            <p:nvSpPr>
              <p:cNvPr id="8" name="Rectangle 7"/>
              <p:cNvSpPr/>
              <p:nvPr/>
            </p:nvSpPr>
            <p:spPr bwMode="auto">
              <a:xfrm>
                <a:off x="4264819" y="2507393"/>
                <a:ext cx="3657600" cy="244848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bwMode="auto">
              <a:xfrm>
                <a:off x="4264819" y="1755904"/>
                <a:ext cx="3657600" cy="75148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4" name="TextBox 13"/>
            <p:cNvSpPr txBox="1"/>
            <p:nvPr/>
          </p:nvSpPr>
          <p:spPr>
            <a:xfrm>
              <a:off x="3350396" y="1206331"/>
              <a:ext cx="2443207" cy="46562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ound Rob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Default)</a:t>
              </a:r>
            </a:p>
          </p:txBody>
        </p:sp>
        <p:sp>
          <p:nvSpPr>
            <p:cNvPr id="19" name="Rectangle 18"/>
            <p:cNvSpPr/>
            <p:nvPr/>
          </p:nvSpPr>
          <p:spPr>
            <a:xfrm>
              <a:off x="3148867" y="1649720"/>
              <a:ext cx="2867318" cy="1276800"/>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stributed evenly across 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Easy place to start, don’t need to know anything about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Simplicity at a cost</a:t>
              </a:r>
            </a:p>
          </p:txBody>
        </p:sp>
      </p:grpSp>
      <p:sp>
        <p:nvSpPr>
          <p:cNvPr id="20" name="Rectangle 19"/>
          <p:cNvSpPr/>
          <p:nvPr/>
        </p:nvSpPr>
        <p:spPr>
          <a:xfrm>
            <a:off x="8149371" y="2147574"/>
            <a:ext cx="3843416" cy="1781517"/>
          </a:xfrm>
          <a:prstGeom prst="rect">
            <a:avLst/>
          </a:prstGeom>
        </p:spPr>
        <p:txBody>
          <a:bodyPr wrap="square">
            <a:spAutoFit/>
          </a:bodyPr>
          <a:lstStyle/>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Data repeated on every node</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Simplifies many query plans and reduces data movement</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Best with joining hash table</a:t>
            </a:r>
          </a:p>
        </p:txBody>
      </p:sp>
      <p:grpSp>
        <p:nvGrpSpPr>
          <p:cNvPr id="9" name="Group 8"/>
          <p:cNvGrpSpPr/>
          <p:nvPr/>
        </p:nvGrpSpPr>
        <p:grpSpPr>
          <a:xfrm>
            <a:off x="273864" y="1369326"/>
            <a:ext cx="3803892" cy="3373697"/>
            <a:chOff x="203326" y="1208649"/>
            <a:chExt cx="2867994" cy="1922619"/>
          </a:xfrm>
          <a:solidFill>
            <a:schemeClr val="accent2">
              <a:lumMod val="20000"/>
              <a:lumOff val="80000"/>
            </a:schemeClr>
          </a:solidFill>
        </p:grpSpPr>
        <p:grpSp>
          <p:nvGrpSpPr>
            <p:cNvPr id="11" name="Group 10"/>
            <p:cNvGrpSpPr/>
            <p:nvPr/>
          </p:nvGrpSpPr>
          <p:grpSpPr>
            <a:xfrm>
              <a:off x="203326" y="1208649"/>
              <a:ext cx="2867993" cy="1747208"/>
              <a:chOff x="8010525" y="1554481"/>
              <a:chExt cx="3657600" cy="2726258"/>
            </a:xfrm>
            <a:grpFill/>
          </p:grpSpPr>
          <p:sp>
            <p:nvSpPr>
              <p:cNvPr id="12" name="Rectangle 11"/>
              <p:cNvSpPr/>
              <p:nvPr/>
            </p:nvSpPr>
            <p:spPr bwMode="auto">
              <a:xfrm>
                <a:off x="8010525" y="2195114"/>
                <a:ext cx="3657600" cy="208562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0" marR="0" lvl="0" indent="0" algn="l" defTabSz="1217154"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000000"/>
                  </a:solidFill>
                  <a:effectLst/>
                  <a:uLnTx/>
                  <a:uFillTx/>
                  <a:latin typeface="Segoe UI"/>
                  <a:ea typeface="+mn-ea"/>
                  <a:cs typeface="+mn-cs"/>
                </a:endParaRPr>
              </a:p>
            </p:txBody>
          </p:sp>
          <p:sp>
            <p:nvSpPr>
              <p:cNvPr id="13" name="Rectangle 12"/>
              <p:cNvSpPr/>
              <p:nvPr/>
            </p:nvSpPr>
            <p:spPr bwMode="auto">
              <a:xfrm>
                <a:off x="8010525" y="1554481"/>
                <a:ext cx="3657600" cy="666983"/>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62322" tIns="0" rIns="162322" bIns="32466"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5" name="TextBox 14"/>
            <p:cNvSpPr txBox="1"/>
            <p:nvPr/>
          </p:nvSpPr>
          <p:spPr>
            <a:xfrm>
              <a:off x="308648" y="1215727"/>
              <a:ext cx="2689274" cy="228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Hash Distributed</a:t>
              </a:r>
            </a:p>
          </p:txBody>
        </p:sp>
        <p:sp>
          <p:nvSpPr>
            <p:cNvPr id="18" name="Rectangle 17"/>
            <p:cNvSpPr/>
            <p:nvPr/>
          </p:nvSpPr>
          <p:spPr>
            <a:xfrm>
              <a:off x="203824" y="1657931"/>
              <a:ext cx="2867496" cy="1473337"/>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vided across nodes based on hashing algorith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ame value will always hash to same distrib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ingle column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Multi column so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p:txBody>
        </p:sp>
      </p:grpSp>
      <p:sp>
        <p:nvSpPr>
          <p:cNvPr id="21" name="Rectangle 20"/>
          <p:cNvSpPr/>
          <p:nvPr/>
        </p:nvSpPr>
        <p:spPr bwMode="auto">
          <a:xfrm>
            <a:off x="290386" y="4545608"/>
            <a:ext cx="3787369" cy="1943750"/>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326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Check for Data Skew</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22" name="Rectangle 21"/>
          <p:cNvSpPr/>
          <p:nvPr/>
        </p:nvSpPr>
        <p:spPr bwMode="auto">
          <a:xfrm>
            <a:off x="4220368" y="4557973"/>
            <a:ext cx="3787369" cy="1931385"/>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Will incur more data movement at query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rPr>
              <a:t> </a:t>
            </a: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Rectangle 22"/>
          <p:cNvSpPr/>
          <p:nvPr/>
        </p:nvSpPr>
        <p:spPr bwMode="auto">
          <a:xfrm>
            <a:off x="8149371" y="4548644"/>
            <a:ext cx="3787369" cy="1940716"/>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Consumes more space</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Joining two Replicated Table runs </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on one node</a:t>
            </a:r>
          </a:p>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23504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3293371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Demonstrations</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738677302"/>
              </p:ext>
            </p:extLst>
          </p:nvPr>
        </p:nvGraphicFramePr>
        <p:xfrm>
          <a:off x="374841" y="222583"/>
          <a:ext cx="11336038" cy="6412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8117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255437982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2801706"/>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indent="-457200">
              <a:buFont typeface="Arial" panose="020B0604020202020204" pitchFamily="34" charset="0"/>
              <a:buChar char="•"/>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vs ETL</a:t>
            </a:r>
          </a:p>
        </p:txBody>
      </p:sp>
      <p:grpSp>
        <p:nvGrpSpPr>
          <p:cNvPr id="11" name="Group 10">
            <a:extLst>
              <a:ext uri="{FF2B5EF4-FFF2-40B4-BE49-F238E27FC236}">
                <a16:creationId xmlns:a16="http://schemas.microsoft.com/office/drawing/2014/main" id="{D18CCC73-8FC2-AA3D-B94E-15043B04556E}"/>
              </a:ext>
            </a:extLst>
          </p:cNvPr>
          <p:cNvGrpSpPr/>
          <p:nvPr/>
        </p:nvGrpSpPr>
        <p:grpSpPr>
          <a:xfrm>
            <a:off x="860584" y="1575927"/>
            <a:ext cx="10470831" cy="4115609"/>
            <a:chOff x="926104" y="1614837"/>
            <a:chExt cx="10470831" cy="4115609"/>
          </a:xfrm>
        </p:grpSpPr>
        <p:grpSp>
          <p:nvGrpSpPr>
            <p:cNvPr id="5" name="Group 4">
              <a:extLst>
                <a:ext uri="{FF2B5EF4-FFF2-40B4-BE49-F238E27FC236}">
                  <a16:creationId xmlns:a16="http://schemas.microsoft.com/office/drawing/2014/main" id="{F8723575-ADAF-752F-81F2-4C5D2D0E4D81}"/>
                </a:ext>
              </a:extLst>
            </p:cNvPr>
            <p:cNvGrpSpPr/>
            <p:nvPr/>
          </p:nvGrpSpPr>
          <p:grpSpPr>
            <a:xfrm>
              <a:off x="926104" y="1614837"/>
              <a:ext cx="10470831" cy="4115609"/>
              <a:chOff x="1344393" y="1918222"/>
              <a:chExt cx="10470831" cy="4115609"/>
            </a:xfrm>
          </p:grpSpPr>
          <p:sp>
            <p:nvSpPr>
              <p:cNvPr id="6" name="Rectangle 5">
                <a:extLst>
                  <a:ext uri="{FF2B5EF4-FFF2-40B4-BE49-F238E27FC236}">
                    <a16:creationId xmlns:a16="http://schemas.microsoft.com/office/drawing/2014/main" id="{8123C47F-C42D-9350-5A15-EC324A2CAAD8}"/>
                  </a:ext>
                </a:extLst>
              </p:cNvPr>
              <p:cNvSpPr/>
              <p:nvPr/>
            </p:nvSpPr>
            <p:spPr>
              <a:xfrm>
                <a:off x="7109021" y="1918222"/>
                <a:ext cx="4706203" cy="3477866"/>
              </a:xfrm>
              <a:prstGeom prst="rect">
                <a:avLst/>
              </a:prstGeom>
              <a:blipFill dpi="0" rotWithShape="1">
                <a:blip r:embed="rId3">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69EB4C17-FF79-A73A-7A3D-4C15E034F4E3}"/>
                  </a:ext>
                </a:extLst>
              </p:cNvPr>
              <p:cNvSpPr/>
              <p:nvPr/>
            </p:nvSpPr>
            <p:spPr>
              <a:xfrm>
                <a:off x="7433268" y="5059264"/>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LT</a:t>
                </a:r>
              </a:p>
            </p:txBody>
          </p:sp>
          <p:sp>
            <p:nvSpPr>
              <p:cNvPr id="9" name="Rectangle 8">
                <a:extLst>
                  <a:ext uri="{FF2B5EF4-FFF2-40B4-BE49-F238E27FC236}">
                    <a16:creationId xmlns:a16="http://schemas.microsoft.com/office/drawing/2014/main" id="{FA3C499D-8D48-A54B-A71D-AE8E1A0B5F81}"/>
                  </a:ext>
                </a:extLst>
              </p:cNvPr>
              <p:cNvSpPr/>
              <p:nvPr/>
            </p:nvSpPr>
            <p:spPr>
              <a:xfrm>
                <a:off x="1344393" y="1946963"/>
                <a:ext cx="4706203" cy="3477866"/>
              </a:xfrm>
              <a:prstGeom prst="rect">
                <a:avLst/>
              </a:prstGeom>
              <a:blipFill dpi="0" rotWithShape="1">
                <a:blip r:embed="rId4">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360B797C-13F6-B895-14E8-A0A94EAD9F9C}"/>
                  </a:ext>
                </a:extLst>
              </p:cNvPr>
              <p:cNvSpPr/>
              <p:nvPr/>
            </p:nvSpPr>
            <p:spPr>
              <a:xfrm>
                <a:off x="1689273" y="5030523"/>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TL</a:t>
                </a:r>
              </a:p>
            </p:txBody>
          </p:sp>
        </p:grpSp>
        <p:sp>
          <p:nvSpPr>
            <p:cNvPr id="3" name="TextBox 2">
              <a:extLst>
                <a:ext uri="{FF2B5EF4-FFF2-40B4-BE49-F238E27FC236}">
                  <a16:creationId xmlns:a16="http://schemas.microsoft.com/office/drawing/2014/main" id="{B4D13A24-0789-3838-C52F-F491562E8AF8}"/>
                </a:ext>
              </a:extLst>
            </p:cNvPr>
            <p:cNvSpPr txBox="1"/>
            <p:nvPr/>
          </p:nvSpPr>
          <p:spPr>
            <a:xfrm>
              <a:off x="7536958" y="1614837"/>
              <a:ext cx="301138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dern Data Warehouse</a:t>
              </a:r>
            </a:p>
          </p:txBody>
        </p:sp>
        <p:sp>
          <p:nvSpPr>
            <p:cNvPr id="4" name="TextBox 3">
              <a:extLst>
                <a:ext uri="{FF2B5EF4-FFF2-40B4-BE49-F238E27FC236}">
                  <a16:creationId xmlns:a16="http://schemas.microsoft.com/office/drawing/2014/main" id="{53206967-215A-6721-E6AA-C8CB6C5ACC75}"/>
                </a:ext>
              </a:extLst>
            </p:cNvPr>
            <p:cNvSpPr txBox="1"/>
            <p:nvPr/>
          </p:nvSpPr>
          <p:spPr>
            <a:xfrm>
              <a:off x="1643652" y="1614837"/>
              <a:ext cx="33100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raditional Data Warehouse</a:t>
              </a:r>
            </a:p>
          </p:txBody>
        </p:sp>
      </p:grpSp>
    </p:spTree>
    <p:extLst>
      <p:ext uri="{BB962C8B-B14F-4D97-AF65-F5344CB8AC3E}">
        <p14:creationId xmlns:p14="http://schemas.microsoft.com/office/powerpoint/2010/main" val="3488500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ig Data</a:t>
            </a:r>
          </a:p>
        </p:txBody>
      </p:sp>
      <p:pic>
        <p:nvPicPr>
          <p:cNvPr id="1026" name="Picture 2" descr="See the source image">
            <a:extLst>
              <a:ext uri="{FF2B5EF4-FFF2-40B4-BE49-F238E27FC236}">
                <a16:creationId xmlns:a16="http://schemas.microsoft.com/office/drawing/2014/main" id="{88B341B6-8575-DA77-7AAD-EA3A790FF70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171700" y="781705"/>
            <a:ext cx="8712200" cy="5868260"/>
          </a:xfrm>
          <a:prstGeom prst="rect">
            <a:avLst/>
          </a:prstGeom>
          <a:solidFill>
            <a:srgbClr val="FFFFFF"/>
          </a:solidFill>
        </p:spPr>
      </p:pic>
    </p:spTree>
    <p:extLst>
      <p:ext uri="{BB962C8B-B14F-4D97-AF65-F5344CB8AC3E}">
        <p14:creationId xmlns:p14="http://schemas.microsoft.com/office/powerpoint/2010/main" val="1230343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9.xml><?xml version="1.0" encoding="utf-8"?>
<a:theme xmlns:a="http://schemas.openxmlformats.org/drawingml/2006/main" name="2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customXml/itemProps2.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754C41-DDFD-4EE3-914B-CD3C1F7048C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907</TotalTime>
  <Words>8172</Words>
  <Application>Microsoft Office PowerPoint</Application>
  <PresentationFormat>Widescreen</PresentationFormat>
  <Paragraphs>1478</Paragraphs>
  <Slides>73</Slides>
  <Notes>52</Notes>
  <HiddenSlides>4</HiddenSlides>
  <MMClips>0</MMClips>
  <ScaleCrop>false</ScaleCrop>
  <HeadingPairs>
    <vt:vector size="6" baseType="variant">
      <vt:variant>
        <vt:lpstr>Fonts Used</vt:lpstr>
      </vt:variant>
      <vt:variant>
        <vt:i4>14</vt:i4>
      </vt:variant>
      <vt:variant>
        <vt:lpstr>Theme</vt:lpstr>
      </vt:variant>
      <vt:variant>
        <vt:i4>19</vt:i4>
      </vt:variant>
      <vt:variant>
        <vt:lpstr>Slide Titles</vt:lpstr>
      </vt:variant>
      <vt:variant>
        <vt:i4>73</vt:i4>
      </vt:variant>
    </vt:vector>
  </HeadingPairs>
  <TitlesOfParts>
    <vt:vector size="106" baseType="lpstr">
      <vt:lpstr>Arial</vt:lpstr>
      <vt:lpstr>Calibri</vt:lpstr>
      <vt:lpstr>Calibri Light</vt:lpstr>
      <vt:lpstr>Century Gothic</vt:lpstr>
      <vt:lpstr>Comic Sans MS</vt:lpstr>
      <vt:lpstr>Consolas</vt:lpstr>
      <vt:lpstr>Inter</vt:lpstr>
      <vt:lpstr>Segoe</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1_Dark Blue</vt:lpstr>
      <vt:lpstr>2_Microsoft 365 PPT Template - 2018</vt:lpstr>
      <vt:lpstr>Azure Synapse Analytics Synapse in a Day</vt:lpstr>
      <vt:lpstr>PowerPoint Presentation</vt:lpstr>
      <vt:lpstr>Agenda</vt:lpstr>
      <vt:lpstr>Demonstrations</vt:lpstr>
      <vt:lpstr>Attendee Introductions</vt:lpstr>
      <vt:lpstr>PowerPoint Presentation</vt:lpstr>
      <vt:lpstr>PowerPoint Presentation</vt:lpstr>
      <vt:lpstr>ELT vs ETL</vt:lpstr>
      <vt:lpstr>Big Data</vt:lpstr>
      <vt:lpstr>Modern Data Warehousing (Before Synapse)</vt:lpstr>
      <vt:lpstr>Modern Data Warehousing with Synapse</vt:lpstr>
      <vt:lpstr>90+ Connectors out of the box</vt:lpstr>
      <vt:lpstr>Azure Synapse Analytics </vt:lpstr>
      <vt:lpstr>Azure Synapse Analytics</vt:lpstr>
      <vt:lpstr>Standalone Pools vs Workspace Pools</vt:lpstr>
      <vt:lpstr>What is Synapse</vt:lpstr>
      <vt:lpstr>PowerPoint Presentation</vt:lpstr>
      <vt:lpstr>PowerPoint Presentation</vt:lpstr>
      <vt:lpstr>PowerPoint Presentation</vt:lpstr>
      <vt:lpstr>PowerPoint Presentation</vt:lpstr>
      <vt:lpstr>PowerPoint Presentation</vt:lpstr>
      <vt:lpstr>Scaling Compute</vt:lpstr>
      <vt:lpstr>PowerPoint Presentation</vt:lpstr>
      <vt:lpstr>PowerPoint Presentation</vt:lpstr>
      <vt:lpstr>Synapse SQL MPP Architecture</vt:lpstr>
      <vt:lpstr>PowerPoint Presentation</vt:lpstr>
      <vt:lpstr>Compute Data Warehouse Units – Memory and  Adaptive Cache</vt:lpstr>
      <vt:lpstr>Separate Compute From Storage </vt:lpstr>
      <vt:lpstr>Independently Scale Compute </vt:lpstr>
      <vt:lpstr>Pause and Resume Workload</vt:lpstr>
      <vt:lpstr>PowerPoint Presentation</vt:lpstr>
      <vt:lpstr>Table Distribution Options</vt:lpstr>
      <vt:lpstr>Demonstration One</vt:lpstr>
      <vt:lpstr>Synapse Studio</vt:lpstr>
      <vt:lpstr>Home Hub</vt:lpstr>
      <vt:lpstr>PowerPoint Presentation</vt:lpstr>
      <vt:lpstr>Synapse Studio   Data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Connectivity</vt:lpstr>
      <vt:lpstr>Manage – Integration runtimes</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Prep &amp; Transform Data</vt:lpstr>
      <vt:lpstr>Triggers</vt:lpstr>
      <vt:lpstr>Demonstration Two</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50</cp:revision>
  <dcterms:created xsi:type="dcterms:W3CDTF">2019-09-22T06:19:48Z</dcterms:created>
  <dcterms:modified xsi:type="dcterms:W3CDTF">2023-04-07T15: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